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4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5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16.xml" ContentType="application/vnd.openxmlformats-officedocument.presentationml.notesSlide+xml"/>
  <Override PartName="/ppt/charts/chart2.xml" ContentType="application/vnd.openxmlformats-officedocument.drawingml.chart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notesSlides/notesSlide19.xml" ContentType="application/vnd.openxmlformats-officedocument.presentationml.notesSlide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5">
  <p:sldMasterIdLst>
    <p:sldMasterId id="2147483661" r:id="rId1"/>
  </p:sldMasterIdLst>
  <p:notesMasterIdLst>
    <p:notesMasterId r:id="rId31"/>
  </p:notesMasterIdLst>
  <p:handoutMasterIdLst>
    <p:handoutMasterId r:id="rId32"/>
  </p:handoutMasterIdLst>
  <p:sldIdLst>
    <p:sldId id="485" r:id="rId2"/>
    <p:sldId id="593" r:id="rId3"/>
    <p:sldId id="646" r:id="rId4"/>
    <p:sldId id="644" r:id="rId5"/>
    <p:sldId id="659" r:id="rId6"/>
    <p:sldId id="595" r:id="rId7"/>
    <p:sldId id="579" r:id="rId8"/>
    <p:sldId id="598" r:id="rId9"/>
    <p:sldId id="597" r:id="rId10"/>
    <p:sldId id="611" r:id="rId11"/>
    <p:sldId id="645" r:id="rId12"/>
    <p:sldId id="647" r:id="rId13"/>
    <p:sldId id="660" r:id="rId14"/>
    <p:sldId id="662" r:id="rId15"/>
    <p:sldId id="649" r:id="rId16"/>
    <p:sldId id="651" r:id="rId17"/>
    <p:sldId id="653" r:id="rId18"/>
    <p:sldId id="654" r:id="rId19"/>
    <p:sldId id="665" r:id="rId20"/>
    <p:sldId id="663" r:id="rId21"/>
    <p:sldId id="630" r:id="rId22"/>
    <p:sldId id="632" r:id="rId23"/>
    <p:sldId id="642" r:id="rId24"/>
    <p:sldId id="633" r:id="rId25"/>
    <p:sldId id="635" r:id="rId26"/>
    <p:sldId id="637" r:id="rId27"/>
    <p:sldId id="666" r:id="rId28"/>
    <p:sldId id="641" r:id="rId29"/>
    <p:sldId id="643" r:id="rId30"/>
  </p:sldIdLst>
  <p:sldSz cx="9144000" cy="6858000" type="screen4x3"/>
  <p:notesSz cx="6858000" cy="9945688"/>
  <p:custDataLst>
    <p:tags r:id="rId33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9347"/>
    <a:srgbClr val="EB7615"/>
    <a:srgbClr val="EC7E24"/>
    <a:srgbClr val="C16111"/>
    <a:srgbClr val="D2A000"/>
    <a:srgbClr val="F6BB00"/>
    <a:srgbClr val="FFC409"/>
    <a:srgbClr val="FFDB69"/>
    <a:srgbClr val="D46306"/>
    <a:srgbClr val="D740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Estilo temático 1 - Énfasis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Estilo temático 1 - Énfasis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7853C-536D-4A76-A0AE-DD22124D55A5}" styleName="Estilo temático 1 - Énfasis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Estilo temático 1 - Énfasis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84" autoAdjust="0"/>
    <p:restoredTop sz="96120" autoAdjust="0"/>
  </p:normalViewPr>
  <p:slideViewPr>
    <p:cSldViewPr snapToGrid="0">
      <p:cViewPr>
        <p:scale>
          <a:sx n="100" d="100"/>
          <a:sy n="100" d="100"/>
        </p:scale>
        <p:origin x="-564" y="-48"/>
      </p:cViewPr>
      <p:guideLst>
        <p:guide orient="horz" pos="4319"/>
        <p:guide pos="213"/>
        <p:guide pos="5565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5" d="100"/>
          <a:sy n="55" d="100"/>
        </p:scale>
        <p:origin x="-2730" y="-96"/>
      </p:cViewPr>
      <p:guideLst>
        <p:guide orient="horz" pos="313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32"/>
    </mc:Choice>
    <mc:Fallback>
      <c:style val="32"/>
    </mc:Fallback>
  </mc:AlternateContent>
  <c:chart>
    <c:autoTitleDeleted val="1"/>
    <c:view3D>
      <c:rotX val="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1.620053972034298E-2"/>
          <c:y val="0.1067701075645781"/>
          <c:w val="0.94899466757818085"/>
          <c:h val="0.57580421987010788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Valor del activo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FF9933"/>
              </a:solidFill>
            </c:spPr>
          </c:dPt>
          <c:dPt>
            <c:idx val="1"/>
            <c:invertIfNegative val="0"/>
            <c:bubble3D val="0"/>
            <c:spPr>
              <a:solidFill>
                <a:srgbClr val="92D050"/>
              </a:solidFill>
            </c:spPr>
          </c:dPt>
          <c:dPt>
            <c:idx val="2"/>
            <c:invertIfNegative val="0"/>
            <c:bubble3D val="0"/>
            <c:spPr>
              <a:solidFill>
                <a:srgbClr val="FF8447"/>
              </a:solidFill>
            </c:spPr>
          </c:dPt>
          <c:dPt>
            <c:idx val="3"/>
            <c:invertIfNegative val="0"/>
            <c:bubble3D val="0"/>
            <c:spPr>
              <a:solidFill>
                <a:srgbClr val="F15E41"/>
              </a:solidFill>
            </c:spPr>
          </c:dPt>
          <c:dPt>
            <c:idx val="4"/>
            <c:invertIfNegative val="0"/>
            <c:bubble3D val="0"/>
            <c:spPr>
              <a:solidFill>
                <a:srgbClr val="FFFF66"/>
              </a:solidFill>
            </c:spPr>
          </c:dPt>
          <c:cat>
            <c:strRef>
              <c:f>Hoja1!$A$2:$A$6</c:f>
              <c:strCache>
                <c:ptCount val="5"/>
                <c:pt idx="0">
                  <c:v>WRKS-REC-001</c:v>
                </c:pt>
                <c:pt idx="1">
                  <c:v>WRKS-PRE-003</c:v>
                </c:pt>
                <c:pt idx="2">
                  <c:v>WRKS-CON-005</c:v>
                </c:pt>
                <c:pt idx="3">
                  <c:v>WRKS-SIS-022</c:v>
                </c:pt>
                <c:pt idx="4">
                  <c:v>WRKS-EXT-016</c:v>
                </c:pt>
              </c:strCache>
            </c:strRef>
          </c:cat>
          <c:val>
            <c:numRef>
              <c:f>Hoja1!$B$2:$B$6</c:f>
              <c:numCache>
                <c:formatCode>General</c:formatCode>
                <c:ptCount val="5"/>
                <c:pt idx="0">
                  <c:v>8</c:v>
                </c:pt>
                <c:pt idx="1">
                  <c:v>2</c:v>
                </c:pt>
                <c:pt idx="2">
                  <c:v>9</c:v>
                </c:pt>
                <c:pt idx="3">
                  <c:v>10</c:v>
                </c:pt>
                <c:pt idx="4">
                  <c:v>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cylinder"/>
        <c:axId val="31045888"/>
        <c:axId val="31059968"/>
        <c:axId val="0"/>
      </c:bar3DChart>
      <c:catAx>
        <c:axId val="31045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0" vert="horz" anchor="b"/>
          <a:lstStyle/>
          <a:p>
            <a:pPr>
              <a:defRPr sz="1200" b="1">
                <a:latin typeface="Calibri" pitchFamily="34" charset="0"/>
                <a:cs typeface="Calibri" pitchFamily="34" charset="0"/>
              </a:defRPr>
            </a:pPr>
            <a:endParaRPr lang="es-ES"/>
          </a:p>
        </c:txPr>
        <c:crossAx val="31059968"/>
        <c:crosses val="autoZero"/>
        <c:auto val="1"/>
        <c:lblAlgn val="ctr"/>
        <c:lblOffset val="100"/>
        <c:noMultiLvlLbl val="0"/>
      </c:catAx>
      <c:valAx>
        <c:axId val="310599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31045888"/>
        <c:crosses val="autoZero"/>
        <c:crossBetween val="between"/>
      </c:valAx>
    </c:plotArea>
    <c:plotVisOnly val="1"/>
    <c:dispBlanksAs val="gap"/>
    <c:showDLblsOverMax val="0"/>
  </c:chart>
  <c:txPr>
    <a:bodyPr rot="0" vert="wordArtVert" anchor="t"/>
    <a:lstStyle/>
    <a:p>
      <a:pPr>
        <a:defRPr sz="1800"/>
      </a:pPr>
      <a:endParaRPr lang="es-E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28"/>
    </mc:Choice>
    <mc:Fallback>
      <c:style val="28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Frecuencia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66675">
              <a:noFill/>
            </a:ln>
          </c:spPr>
          <c:invertIfNegative val="0"/>
          <c:cat>
            <c:strRef>
              <c:f>Hoja1!$A$2:$A$9</c:f>
              <c:strCache>
                <c:ptCount val="8"/>
                <c:pt idx="0">
                  <c:v>I.3</c:v>
                </c:pt>
                <c:pt idx="1">
                  <c:v>I.6</c:v>
                </c:pt>
                <c:pt idx="2">
                  <c:v>I.4</c:v>
                </c:pt>
                <c:pt idx="3">
                  <c:v>I.5</c:v>
                </c:pt>
                <c:pt idx="4">
                  <c:v>E.5</c:v>
                </c:pt>
                <c:pt idx="5">
                  <c:v>A.13</c:v>
                </c:pt>
                <c:pt idx="6">
                  <c:v>E.9</c:v>
                </c:pt>
                <c:pt idx="7">
                  <c:v>E.16</c:v>
                </c:pt>
              </c:strCache>
            </c:strRef>
          </c:cat>
          <c:val>
            <c:numRef>
              <c:f>Hoja1!$B$2:$B$9</c:f>
              <c:numCache>
                <c:formatCode>General</c:formatCode>
                <c:ptCount val="8"/>
                <c:pt idx="0">
                  <c:v>3</c:v>
                </c:pt>
                <c:pt idx="1">
                  <c:v>1</c:v>
                </c:pt>
                <c:pt idx="2">
                  <c:v>1</c:v>
                </c:pt>
                <c:pt idx="3">
                  <c:v>4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2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Impacto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 w="66675">
              <a:noFill/>
            </a:ln>
          </c:spPr>
          <c:invertIfNegative val="0"/>
          <c:cat>
            <c:strRef>
              <c:f>Hoja1!$A$2:$A$9</c:f>
              <c:strCache>
                <c:ptCount val="8"/>
                <c:pt idx="0">
                  <c:v>I.3</c:v>
                </c:pt>
                <c:pt idx="1">
                  <c:v>I.6</c:v>
                </c:pt>
                <c:pt idx="2">
                  <c:v>I.4</c:v>
                </c:pt>
                <c:pt idx="3">
                  <c:v>I.5</c:v>
                </c:pt>
                <c:pt idx="4">
                  <c:v>E.5</c:v>
                </c:pt>
                <c:pt idx="5">
                  <c:v>A.13</c:v>
                </c:pt>
                <c:pt idx="6">
                  <c:v>E.9</c:v>
                </c:pt>
                <c:pt idx="7">
                  <c:v>E.16</c:v>
                </c:pt>
              </c:strCache>
            </c:strRef>
          </c:cat>
          <c:val>
            <c:numRef>
              <c:f>Hoja1!$C$2:$C$9</c:f>
              <c:numCache>
                <c:formatCode>General</c:formatCode>
                <c:ptCount val="8"/>
                <c:pt idx="0">
                  <c:v>3</c:v>
                </c:pt>
                <c:pt idx="1">
                  <c:v>3</c:v>
                </c:pt>
                <c:pt idx="2">
                  <c:v>2</c:v>
                </c:pt>
                <c:pt idx="3">
                  <c:v>5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7">
                  <c:v>4</c:v>
                </c:pt>
              </c:numCache>
            </c:numRef>
          </c:val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Valor Riesgo</c:v>
                </c:pt>
              </c:strCache>
            </c:strRef>
          </c:tx>
          <c:spPr>
            <a:solidFill>
              <a:srgbClr val="FFC819"/>
            </a:solidFill>
            <a:ln w="66675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FC409"/>
              </a:solidFill>
              <a:ln w="66675">
                <a:noFill/>
              </a:ln>
            </c:spPr>
          </c:dPt>
          <c:dPt>
            <c:idx val="1"/>
            <c:invertIfNegative val="0"/>
            <c:bubble3D val="0"/>
            <c:spPr>
              <a:solidFill>
                <a:srgbClr val="00B050"/>
              </a:solidFill>
              <a:ln w="66675">
                <a:noFill/>
              </a:ln>
            </c:spPr>
          </c:dPt>
          <c:dPt>
            <c:idx val="2"/>
            <c:invertIfNegative val="0"/>
            <c:bubble3D val="0"/>
            <c:spPr>
              <a:solidFill>
                <a:srgbClr val="00D25F"/>
              </a:solidFill>
              <a:ln w="66675">
                <a:noFill/>
              </a:ln>
            </c:spPr>
          </c:dPt>
          <c:dPt>
            <c:idx val="3"/>
            <c:invertIfNegative val="0"/>
            <c:bubble3D val="0"/>
            <c:spPr>
              <a:solidFill>
                <a:srgbClr val="D46306"/>
              </a:solidFill>
              <a:ln w="66675">
                <a:noFill/>
              </a:ln>
            </c:spPr>
          </c:dPt>
          <c:dPt>
            <c:idx val="4"/>
            <c:invertIfNegative val="0"/>
            <c:bubble3D val="0"/>
            <c:spPr>
              <a:solidFill>
                <a:srgbClr val="EF9347"/>
              </a:solidFill>
              <a:ln w="66675">
                <a:noFill/>
              </a:ln>
            </c:spPr>
          </c:dPt>
          <c:dPt>
            <c:idx val="5"/>
            <c:invertIfNegative val="0"/>
            <c:bubble3D val="0"/>
            <c:spPr>
              <a:solidFill>
                <a:srgbClr val="EB7615"/>
              </a:solidFill>
              <a:ln w="66675">
                <a:noFill/>
              </a:ln>
            </c:spPr>
          </c:dPt>
          <c:dPt>
            <c:idx val="6"/>
            <c:invertIfNegative val="0"/>
            <c:bubble3D val="0"/>
            <c:spPr>
              <a:solidFill>
                <a:srgbClr val="FFC409"/>
              </a:solidFill>
              <a:ln w="66675">
                <a:noFill/>
              </a:ln>
            </c:spPr>
          </c:dPt>
          <c:dPt>
            <c:idx val="7"/>
            <c:invertIfNegative val="0"/>
            <c:bubble3D val="0"/>
            <c:spPr>
              <a:solidFill>
                <a:srgbClr val="FFDB69"/>
              </a:solidFill>
              <a:ln w="66675">
                <a:noFill/>
              </a:ln>
            </c:spPr>
          </c:dPt>
          <c:cat>
            <c:strRef>
              <c:f>Hoja1!$A$2:$A$9</c:f>
              <c:strCache>
                <c:ptCount val="8"/>
                <c:pt idx="0">
                  <c:v>I.3</c:v>
                </c:pt>
                <c:pt idx="1">
                  <c:v>I.6</c:v>
                </c:pt>
                <c:pt idx="2">
                  <c:v>I.4</c:v>
                </c:pt>
                <c:pt idx="3">
                  <c:v>I.5</c:v>
                </c:pt>
                <c:pt idx="4">
                  <c:v>E.5</c:v>
                </c:pt>
                <c:pt idx="5">
                  <c:v>A.13</c:v>
                </c:pt>
                <c:pt idx="6">
                  <c:v>E.9</c:v>
                </c:pt>
                <c:pt idx="7">
                  <c:v>E.16</c:v>
                </c:pt>
              </c:strCache>
            </c:strRef>
          </c:cat>
          <c:val>
            <c:numRef>
              <c:f>Hoja1!$D$2:$D$9</c:f>
              <c:numCache>
                <c:formatCode>General</c:formatCode>
                <c:ptCount val="8"/>
                <c:pt idx="0">
                  <c:v>9</c:v>
                </c:pt>
                <c:pt idx="1">
                  <c:v>3</c:v>
                </c:pt>
                <c:pt idx="2">
                  <c:v>2</c:v>
                </c:pt>
                <c:pt idx="3">
                  <c:v>20</c:v>
                </c:pt>
                <c:pt idx="4">
                  <c:v>12</c:v>
                </c:pt>
                <c:pt idx="5">
                  <c:v>15</c:v>
                </c:pt>
                <c:pt idx="6">
                  <c:v>9</c:v>
                </c:pt>
                <c:pt idx="7">
                  <c:v>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gapDepth val="95"/>
        <c:shape val="cylinder"/>
        <c:axId val="76391936"/>
        <c:axId val="76393472"/>
        <c:axId val="0"/>
      </c:bar3DChart>
      <c:catAx>
        <c:axId val="76391936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b="1"/>
            </a:pPr>
            <a:endParaRPr lang="es-ES"/>
          </a:p>
        </c:txPr>
        <c:crossAx val="76393472"/>
        <c:crosses val="autoZero"/>
        <c:auto val="1"/>
        <c:lblAlgn val="ctr"/>
        <c:lblOffset val="100"/>
        <c:noMultiLvlLbl val="0"/>
      </c:catAx>
      <c:valAx>
        <c:axId val="7639347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one"/>
        <c:crossAx val="76391936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239690780283831"/>
          <c:y val="8.8281499812314923E-3"/>
          <c:w val="0.75591419865713583"/>
          <c:h val="8.8784078744317388E-2"/>
        </c:manualLayout>
      </c:layout>
      <c:overlay val="0"/>
      <c:txPr>
        <a:bodyPr/>
        <a:lstStyle/>
        <a:p>
          <a:pPr>
            <a:defRPr sz="2000" b="1">
              <a:latin typeface="Calibri" pitchFamily="34" charset="0"/>
              <a:cs typeface="Calibri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D69ECEC-0629-40B3-B3F8-8B05DDB11AF2}" type="doc">
      <dgm:prSet loTypeId="urn:microsoft.com/office/officeart/2005/8/layout/list1" loCatId="list" qsTypeId="urn:microsoft.com/office/officeart/2005/8/quickstyle/3d1" qsCatId="3D" csTypeId="urn:microsoft.com/office/officeart/2005/8/colors/accent1_3" csCatId="accent1" phldr="1"/>
      <dgm:spPr/>
    </dgm:pt>
    <dgm:pt modelId="{514CB47F-5D7B-48CA-A696-CABA9DD63DC3}">
      <dgm:prSet phldrT="[Texto]" custT="1"/>
      <dgm:spPr/>
      <dgm:t>
        <a:bodyPr/>
        <a:lstStyle/>
        <a:p>
          <a:pPr algn="ctr"/>
          <a:r>
            <a:rPr lang="es-EC" sz="1800" b="1" dirty="0" smtClean="0">
              <a:effectLst/>
              <a:latin typeface="Calibri" pitchFamily="34" charset="0"/>
              <a:cs typeface="Calibri" pitchFamily="34" charset="0"/>
            </a:rPr>
            <a:t>Alejandra Eugenio Rivas</a:t>
          </a:r>
          <a:endParaRPr lang="es-EC" sz="1800" b="1" dirty="0">
            <a:effectLst/>
            <a:latin typeface="Calibri" pitchFamily="34" charset="0"/>
            <a:cs typeface="Calibri" pitchFamily="34" charset="0"/>
          </a:endParaRPr>
        </a:p>
      </dgm:t>
    </dgm:pt>
    <dgm:pt modelId="{DCA6F78A-184B-44A5-88FF-56CD81949ECB}" type="parTrans" cxnId="{566DEB3F-86C0-45E8-A77D-CD3159A6CA1C}">
      <dgm:prSet/>
      <dgm:spPr/>
      <dgm:t>
        <a:bodyPr/>
        <a:lstStyle/>
        <a:p>
          <a:pPr algn="ctr"/>
          <a:endParaRPr lang="es-EC"/>
        </a:p>
      </dgm:t>
    </dgm:pt>
    <dgm:pt modelId="{F03EE86D-B17A-4867-8FB4-539ACF60FE79}" type="sibTrans" cxnId="{566DEB3F-86C0-45E8-A77D-CD3159A6CA1C}">
      <dgm:prSet/>
      <dgm:spPr/>
      <dgm:t>
        <a:bodyPr/>
        <a:lstStyle/>
        <a:p>
          <a:pPr algn="ctr"/>
          <a:endParaRPr lang="es-EC"/>
        </a:p>
      </dgm:t>
    </dgm:pt>
    <dgm:pt modelId="{BD2C1089-F972-498C-B845-0E6151F69EB5}">
      <dgm:prSet phldrT="[Texto]" custT="1"/>
      <dgm:spPr/>
      <dgm:t>
        <a:bodyPr/>
        <a:lstStyle/>
        <a:p>
          <a:pPr algn="ctr"/>
          <a:r>
            <a:rPr lang="es-EC" sz="1800" b="1" dirty="0" smtClean="0">
              <a:latin typeface="Calibri" pitchFamily="34" charset="0"/>
              <a:cs typeface="Calibri" pitchFamily="34" charset="0"/>
            </a:rPr>
            <a:t>Miguel Parrales Espinoza</a:t>
          </a:r>
          <a:endParaRPr lang="es-EC" sz="1800" b="1" dirty="0">
            <a:latin typeface="Calibri" pitchFamily="34" charset="0"/>
            <a:cs typeface="Calibri" pitchFamily="34" charset="0"/>
          </a:endParaRPr>
        </a:p>
      </dgm:t>
    </dgm:pt>
    <dgm:pt modelId="{F818FC99-E022-4EB9-955E-105F28D4FC4E}" type="parTrans" cxnId="{5BB8D641-6320-419F-9490-1E92EAA95D25}">
      <dgm:prSet/>
      <dgm:spPr/>
      <dgm:t>
        <a:bodyPr/>
        <a:lstStyle/>
        <a:p>
          <a:pPr algn="ctr"/>
          <a:endParaRPr lang="es-EC"/>
        </a:p>
      </dgm:t>
    </dgm:pt>
    <dgm:pt modelId="{CB96EE00-A148-4F1E-A0B9-38F880B7081D}" type="sibTrans" cxnId="{5BB8D641-6320-419F-9490-1E92EAA95D25}">
      <dgm:prSet/>
      <dgm:spPr/>
      <dgm:t>
        <a:bodyPr/>
        <a:lstStyle/>
        <a:p>
          <a:pPr algn="ctr"/>
          <a:endParaRPr lang="es-EC"/>
        </a:p>
      </dgm:t>
    </dgm:pt>
    <dgm:pt modelId="{845401EC-A4C4-433F-9A18-ABE1D9D563C5}">
      <dgm:prSet phldrT="[Texto]" custT="1"/>
      <dgm:spPr/>
      <dgm:t>
        <a:bodyPr/>
        <a:lstStyle/>
        <a:p>
          <a:pPr algn="ctr"/>
          <a:r>
            <a:rPr lang="es-EC" sz="1800" b="1" dirty="0" smtClean="0">
              <a:latin typeface="Calibri" pitchFamily="34" charset="0"/>
              <a:cs typeface="Calibri" pitchFamily="34" charset="0"/>
            </a:rPr>
            <a:t>Paúl Sabando Sudario</a:t>
          </a:r>
          <a:endParaRPr lang="es-EC" sz="1800" b="1" dirty="0">
            <a:latin typeface="Calibri" pitchFamily="34" charset="0"/>
            <a:cs typeface="Calibri" pitchFamily="34" charset="0"/>
          </a:endParaRPr>
        </a:p>
      </dgm:t>
    </dgm:pt>
    <dgm:pt modelId="{82953436-3F64-407B-9B13-D4F6A35BA05A}" type="sibTrans" cxnId="{50E2668E-47DE-48FC-8E54-45C4C0379C24}">
      <dgm:prSet/>
      <dgm:spPr/>
      <dgm:t>
        <a:bodyPr/>
        <a:lstStyle/>
        <a:p>
          <a:pPr algn="ctr"/>
          <a:endParaRPr lang="es-EC"/>
        </a:p>
      </dgm:t>
    </dgm:pt>
    <dgm:pt modelId="{3DCB44AB-C6A0-4A14-A54C-47420E67364F}" type="parTrans" cxnId="{50E2668E-47DE-48FC-8E54-45C4C0379C24}">
      <dgm:prSet/>
      <dgm:spPr/>
      <dgm:t>
        <a:bodyPr/>
        <a:lstStyle/>
        <a:p>
          <a:pPr algn="ctr"/>
          <a:endParaRPr lang="es-EC"/>
        </a:p>
      </dgm:t>
    </dgm:pt>
    <dgm:pt modelId="{663AF038-46EB-49AD-9516-A57E61A5FD82}" type="pres">
      <dgm:prSet presAssocID="{AD69ECEC-0629-40B3-B3F8-8B05DDB11AF2}" presName="linear" presStyleCnt="0">
        <dgm:presLayoutVars>
          <dgm:dir/>
          <dgm:animLvl val="lvl"/>
          <dgm:resizeHandles val="exact"/>
        </dgm:presLayoutVars>
      </dgm:prSet>
      <dgm:spPr/>
    </dgm:pt>
    <dgm:pt modelId="{2B0182EB-2249-45BB-BDEC-E131EB27B64C}" type="pres">
      <dgm:prSet presAssocID="{514CB47F-5D7B-48CA-A696-CABA9DD63DC3}" presName="parentLin" presStyleCnt="0"/>
      <dgm:spPr/>
    </dgm:pt>
    <dgm:pt modelId="{0F3E569B-AC44-4054-93EA-4514C06DBBE2}" type="pres">
      <dgm:prSet presAssocID="{514CB47F-5D7B-48CA-A696-CABA9DD63DC3}" presName="parentLeftMargin" presStyleLbl="node1" presStyleIdx="0" presStyleCnt="3"/>
      <dgm:spPr/>
      <dgm:t>
        <a:bodyPr/>
        <a:lstStyle/>
        <a:p>
          <a:endParaRPr lang="es-EC"/>
        </a:p>
      </dgm:t>
    </dgm:pt>
    <dgm:pt modelId="{375C4506-0EFC-4EC5-9B67-DD2B88E59993}" type="pres">
      <dgm:prSet presAssocID="{514CB47F-5D7B-48CA-A696-CABA9DD63DC3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1BD516FF-3689-4ADE-A82F-7C93681291EE}" type="pres">
      <dgm:prSet presAssocID="{514CB47F-5D7B-48CA-A696-CABA9DD63DC3}" presName="negativeSpace" presStyleCnt="0"/>
      <dgm:spPr/>
    </dgm:pt>
    <dgm:pt modelId="{76185D06-4DF0-4D0D-9155-992DE231FE0C}" type="pres">
      <dgm:prSet presAssocID="{514CB47F-5D7B-48CA-A696-CABA9DD63DC3}" presName="childText" presStyleLbl="conFgAcc1" presStyleIdx="0" presStyleCnt="3" custScaleX="57107">
        <dgm:presLayoutVars>
          <dgm:bulletEnabled val="1"/>
        </dgm:presLayoutVars>
      </dgm:prSet>
      <dgm:spPr/>
    </dgm:pt>
    <dgm:pt modelId="{F2FE6946-F7DF-4EC3-A7A8-A977C6A15F6B}" type="pres">
      <dgm:prSet presAssocID="{F03EE86D-B17A-4867-8FB4-539ACF60FE79}" presName="spaceBetweenRectangles" presStyleCnt="0"/>
      <dgm:spPr/>
    </dgm:pt>
    <dgm:pt modelId="{4454FC79-C4E1-4673-8FFB-B7106CFCC7A7}" type="pres">
      <dgm:prSet presAssocID="{BD2C1089-F972-498C-B845-0E6151F69EB5}" presName="parentLin" presStyleCnt="0"/>
      <dgm:spPr/>
    </dgm:pt>
    <dgm:pt modelId="{224ABE97-FCD1-46DF-BDCD-BE3315C5AF12}" type="pres">
      <dgm:prSet presAssocID="{BD2C1089-F972-498C-B845-0E6151F69EB5}" presName="parentLeftMargin" presStyleLbl="node1" presStyleIdx="0" presStyleCnt="3"/>
      <dgm:spPr/>
      <dgm:t>
        <a:bodyPr/>
        <a:lstStyle/>
        <a:p>
          <a:endParaRPr lang="es-EC"/>
        </a:p>
      </dgm:t>
    </dgm:pt>
    <dgm:pt modelId="{B7F62CC0-B78B-4C1C-A95F-AA6312258283}" type="pres">
      <dgm:prSet presAssocID="{BD2C1089-F972-498C-B845-0E6151F69EB5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8C5BC526-41B5-4675-B40C-0B6D3CEC6E94}" type="pres">
      <dgm:prSet presAssocID="{BD2C1089-F972-498C-B845-0E6151F69EB5}" presName="negativeSpace" presStyleCnt="0"/>
      <dgm:spPr/>
    </dgm:pt>
    <dgm:pt modelId="{33BAE8EB-9056-4F22-AD66-28C7A34DD081}" type="pres">
      <dgm:prSet presAssocID="{BD2C1089-F972-498C-B845-0E6151F69EB5}" presName="childText" presStyleLbl="conFgAcc1" presStyleIdx="1" presStyleCnt="3" custScaleX="49015">
        <dgm:presLayoutVars>
          <dgm:bulletEnabled val="1"/>
        </dgm:presLayoutVars>
      </dgm:prSet>
      <dgm:spPr/>
    </dgm:pt>
    <dgm:pt modelId="{B07B6147-DCA6-4D73-864D-5B39790B3BE9}" type="pres">
      <dgm:prSet presAssocID="{CB96EE00-A148-4F1E-A0B9-38F880B7081D}" presName="spaceBetweenRectangles" presStyleCnt="0"/>
      <dgm:spPr/>
    </dgm:pt>
    <dgm:pt modelId="{E553E087-AF31-46A6-8FEF-846363691B6A}" type="pres">
      <dgm:prSet presAssocID="{845401EC-A4C4-433F-9A18-ABE1D9D563C5}" presName="parentLin" presStyleCnt="0"/>
      <dgm:spPr/>
    </dgm:pt>
    <dgm:pt modelId="{074808D6-8972-49A1-A261-7C0B4867BE57}" type="pres">
      <dgm:prSet presAssocID="{845401EC-A4C4-433F-9A18-ABE1D9D563C5}" presName="parentLeftMargin" presStyleLbl="node1" presStyleIdx="1" presStyleCnt="3"/>
      <dgm:spPr/>
      <dgm:t>
        <a:bodyPr/>
        <a:lstStyle/>
        <a:p>
          <a:endParaRPr lang="es-EC"/>
        </a:p>
      </dgm:t>
    </dgm:pt>
    <dgm:pt modelId="{3F8E54F8-5996-4BB9-B55C-4D361F4C8765}" type="pres">
      <dgm:prSet presAssocID="{845401EC-A4C4-433F-9A18-ABE1D9D563C5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3CB4665F-5948-4CF5-8ECA-2CA3E8191266}" type="pres">
      <dgm:prSet presAssocID="{845401EC-A4C4-433F-9A18-ABE1D9D563C5}" presName="negativeSpace" presStyleCnt="0"/>
      <dgm:spPr/>
    </dgm:pt>
    <dgm:pt modelId="{E2B1A6E7-AB1C-40BE-BEE5-ECEEE16DF628}" type="pres">
      <dgm:prSet presAssocID="{845401EC-A4C4-433F-9A18-ABE1D9D563C5}" presName="childText" presStyleLbl="conFgAcc1" presStyleIdx="2" presStyleCnt="3" custScaleX="40383">
        <dgm:presLayoutVars>
          <dgm:bulletEnabled val="1"/>
        </dgm:presLayoutVars>
      </dgm:prSet>
      <dgm:spPr/>
    </dgm:pt>
  </dgm:ptLst>
  <dgm:cxnLst>
    <dgm:cxn modelId="{00C516C8-66D6-47D1-9897-4FFEFAAB9455}" type="presOf" srcId="{AD69ECEC-0629-40B3-B3F8-8B05DDB11AF2}" destId="{663AF038-46EB-49AD-9516-A57E61A5FD82}" srcOrd="0" destOrd="0" presId="urn:microsoft.com/office/officeart/2005/8/layout/list1"/>
    <dgm:cxn modelId="{FEDBBCA2-BF5D-4E2D-9162-378D5A49F7D2}" type="presOf" srcId="{845401EC-A4C4-433F-9A18-ABE1D9D563C5}" destId="{3F8E54F8-5996-4BB9-B55C-4D361F4C8765}" srcOrd="1" destOrd="0" presId="urn:microsoft.com/office/officeart/2005/8/layout/list1"/>
    <dgm:cxn modelId="{ABB49F10-0DFB-44B5-8E9A-A9CD6E8A5F0F}" type="presOf" srcId="{BD2C1089-F972-498C-B845-0E6151F69EB5}" destId="{B7F62CC0-B78B-4C1C-A95F-AA6312258283}" srcOrd="1" destOrd="0" presId="urn:microsoft.com/office/officeart/2005/8/layout/list1"/>
    <dgm:cxn modelId="{50E2668E-47DE-48FC-8E54-45C4C0379C24}" srcId="{AD69ECEC-0629-40B3-B3F8-8B05DDB11AF2}" destId="{845401EC-A4C4-433F-9A18-ABE1D9D563C5}" srcOrd="2" destOrd="0" parTransId="{3DCB44AB-C6A0-4A14-A54C-47420E67364F}" sibTransId="{82953436-3F64-407B-9B13-D4F6A35BA05A}"/>
    <dgm:cxn modelId="{CF65B608-51F8-4A03-A4ED-C44B8A211D15}" type="presOf" srcId="{BD2C1089-F972-498C-B845-0E6151F69EB5}" destId="{224ABE97-FCD1-46DF-BDCD-BE3315C5AF12}" srcOrd="0" destOrd="0" presId="urn:microsoft.com/office/officeart/2005/8/layout/list1"/>
    <dgm:cxn modelId="{9EEC9080-73D2-454A-AD1F-784BDDF3EA93}" type="presOf" srcId="{514CB47F-5D7B-48CA-A696-CABA9DD63DC3}" destId="{375C4506-0EFC-4EC5-9B67-DD2B88E59993}" srcOrd="1" destOrd="0" presId="urn:microsoft.com/office/officeart/2005/8/layout/list1"/>
    <dgm:cxn modelId="{5BB8D641-6320-419F-9490-1E92EAA95D25}" srcId="{AD69ECEC-0629-40B3-B3F8-8B05DDB11AF2}" destId="{BD2C1089-F972-498C-B845-0E6151F69EB5}" srcOrd="1" destOrd="0" parTransId="{F818FC99-E022-4EB9-955E-105F28D4FC4E}" sibTransId="{CB96EE00-A148-4F1E-A0B9-38F880B7081D}"/>
    <dgm:cxn modelId="{85C8F145-A773-43FA-BA65-B53F521C8518}" type="presOf" srcId="{845401EC-A4C4-433F-9A18-ABE1D9D563C5}" destId="{074808D6-8972-49A1-A261-7C0B4867BE57}" srcOrd="0" destOrd="0" presId="urn:microsoft.com/office/officeart/2005/8/layout/list1"/>
    <dgm:cxn modelId="{61D3F74F-9275-4819-85C2-7E47D992DC65}" type="presOf" srcId="{514CB47F-5D7B-48CA-A696-CABA9DD63DC3}" destId="{0F3E569B-AC44-4054-93EA-4514C06DBBE2}" srcOrd="0" destOrd="0" presId="urn:microsoft.com/office/officeart/2005/8/layout/list1"/>
    <dgm:cxn modelId="{566DEB3F-86C0-45E8-A77D-CD3159A6CA1C}" srcId="{AD69ECEC-0629-40B3-B3F8-8B05DDB11AF2}" destId="{514CB47F-5D7B-48CA-A696-CABA9DD63DC3}" srcOrd="0" destOrd="0" parTransId="{DCA6F78A-184B-44A5-88FF-56CD81949ECB}" sibTransId="{F03EE86D-B17A-4867-8FB4-539ACF60FE79}"/>
    <dgm:cxn modelId="{528FCA14-D0E8-4DFE-A449-66F3E4CA9706}" type="presParOf" srcId="{663AF038-46EB-49AD-9516-A57E61A5FD82}" destId="{2B0182EB-2249-45BB-BDEC-E131EB27B64C}" srcOrd="0" destOrd="0" presId="urn:microsoft.com/office/officeart/2005/8/layout/list1"/>
    <dgm:cxn modelId="{5F054B2F-0758-4DEE-90F5-EE5087A84635}" type="presParOf" srcId="{2B0182EB-2249-45BB-BDEC-E131EB27B64C}" destId="{0F3E569B-AC44-4054-93EA-4514C06DBBE2}" srcOrd="0" destOrd="0" presId="urn:microsoft.com/office/officeart/2005/8/layout/list1"/>
    <dgm:cxn modelId="{47BAC719-041D-43F4-9A59-440C301CD4D1}" type="presParOf" srcId="{2B0182EB-2249-45BB-BDEC-E131EB27B64C}" destId="{375C4506-0EFC-4EC5-9B67-DD2B88E59993}" srcOrd="1" destOrd="0" presId="urn:microsoft.com/office/officeart/2005/8/layout/list1"/>
    <dgm:cxn modelId="{13B87816-9BAE-4766-8313-5976077D43EE}" type="presParOf" srcId="{663AF038-46EB-49AD-9516-A57E61A5FD82}" destId="{1BD516FF-3689-4ADE-A82F-7C93681291EE}" srcOrd="1" destOrd="0" presId="urn:microsoft.com/office/officeart/2005/8/layout/list1"/>
    <dgm:cxn modelId="{8DF68DE3-5FBF-4002-B58B-6AD196C3445C}" type="presParOf" srcId="{663AF038-46EB-49AD-9516-A57E61A5FD82}" destId="{76185D06-4DF0-4D0D-9155-992DE231FE0C}" srcOrd="2" destOrd="0" presId="urn:microsoft.com/office/officeart/2005/8/layout/list1"/>
    <dgm:cxn modelId="{C1470975-B518-46CB-A40A-28C094631177}" type="presParOf" srcId="{663AF038-46EB-49AD-9516-A57E61A5FD82}" destId="{F2FE6946-F7DF-4EC3-A7A8-A977C6A15F6B}" srcOrd="3" destOrd="0" presId="urn:microsoft.com/office/officeart/2005/8/layout/list1"/>
    <dgm:cxn modelId="{38C8C3C7-8423-4574-9269-1BD8F48FF634}" type="presParOf" srcId="{663AF038-46EB-49AD-9516-A57E61A5FD82}" destId="{4454FC79-C4E1-4673-8FFB-B7106CFCC7A7}" srcOrd="4" destOrd="0" presId="urn:microsoft.com/office/officeart/2005/8/layout/list1"/>
    <dgm:cxn modelId="{E7F297E3-03BD-4234-B609-586BEA4BC36D}" type="presParOf" srcId="{4454FC79-C4E1-4673-8FFB-B7106CFCC7A7}" destId="{224ABE97-FCD1-46DF-BDCD-BE3315C5AF12}" srcOrd="0" destOrd="0" presId="urn:microsoft.com/office/officeart/2005/8/layout/list1"/>
    <dgm:cxn modelId="{C744E791-056C-4E31-9D90-2EE4F7161CEB}" type="presParOf" srcId="{4454FC79-C4E1-4673-8FFB-B7106CFCC7A7}" destId="{B7F62CC0-B78B-4C1C-A95F-AA6312258283}" srcOrd="1" destOrd="0" presId="urn:microsoft.com/office/officeart/2005/8/layout/list1"/>
    <dgm:cxn modelId="{A14E3DA9-8DB1-4201-9A4B-51F3955C38FE}" type="presParOf" srcId="{663AF038-46EB-49AD-9516-A57E61A5FD82}" destId="{8C5BC526-41B5-4675-B40C-0B6D3CEC6E94}" srcOrd="5" destOrd="0" presId="urn:microsoft.com/office/officeart/2005/8/layout/list1"/>
    <dgm:cxn modelId="{E36F7AAE-BFDF-4BCB-87D4-45A663C85479}" type="presParOf" srcId="{663AF038-46EB-49AD-9516-A57E61A5FD82}" destId="{33BAE8EB-9056-4F22-AD66-28C7A34DD081}" srcOrd="6" destOrd="0" presId="urn:microsoft.com/office/officeart/2005/8/layout/list1"/>
    <dgm:cxn modelId="{5AB8F062-F2F7-4C98-9FDA-97553DAB59BF}" type="presParOf" srcId="{663AF038-46EB-49AD-9516-A57E61A5FD82}" destId="{B07B6147-DCA6-4D73-864D-5B39790B3BE9}" srcOrd="7" destOrd="0" presId="urn:microsoft.com/office/officeart/2005/8/layout/list1"/>
    <dgm:cxn modelId="{D8F683B7-F0C9-44BE-9A8A-8F7814E8F37B}" type="presParOf" srcId="{663AF038-46EB-49AD-9516-A57E61A5FD82}" destId="{E553E087-AF31-46A6-8FEF-846363691B6A}" srcOrd="8" destOrd="0" presId="urn:microsoft.com/office/officeart/2005/8/layout/list1"/>
    <dgm:cxn modelId="{C33206A0-9964-439D-9B92-F42136E1C089}" type="presParOf" srcId="{E553E087-AF31-46A6-8FEF-846363691B6A}" destId="{074808D6-8972-49A1-A261-7C0B4867BE57}" srcOrd="0" destOrd="0" presId="urn:microsoft.com/office/officeart/2005/8/layout/list1"/>
    <dgm:cxn modelId="{3D92AD59-990C-4398-A0BE-F06AD41B2324}" type="presParOf" srcId="{E553E087-AF31-46A6-8FEF-846363691B6A}" destId="{3F8E54F8-5996-4BB9-B55C-4D361F4C8765}" srcOrd="1" destOrd="0" presId="urn:microsoft.com/office/officeart/2005/8/layout/list1"/>
    <dgm:cxn modelId="{1EE8CCEF-756D-412F-A140-97005D086EAD}" type="presParOf" srcId="{663AF038-46EB-49AD-9516-A57E61A5FD82}" destId="{3CB4665F-5948-4CF5-8ECA-2CA3E8191266}" srcOrd="9" destOrd="0" presId="urn:microsoft.com/office/officeart/2005/8/layout/list1"/>
    <dgm:cxn modelId="{B5019263-3E02-4727-B210-CBE7A459A35E}" type="presParOf" srcId="{663AF038-46EB-49AD-9516-A57E61A5FD82}" destId="{E2B1A6E7-AB1C-40BE-BEE5-ECEEE16DF628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FE38019B-8F8D-4730-9E22-71FC2475B430}" type="doc">
      <dgm:prSet loTypeId="urn:microsoft.com/office/officeart/2005/8/layout/list1" loCatId="list" qsTypeId="urn:microsoft.com/office/officeart/2005/8/quickstyle/simple5" qsCatId="simple" csTypeId="urn:microsoft.com/office/officeart/2005/8/colors/accent1_4" csCatId="accent1" phldr="1"/>
      <dgm:spPr/>
      <dgm:t>
        <a:bodyPr/>
        <a:lstStyle/>
        <a:p>
          <a:endParaRPr lang="es-ES"/>
        </a:p>
      </dgm:t>
    </dgm:pt>
    <dgm:pt modelId="{2EE93862-5DC7-4848-9B57-DBF80E159F4E}">
      <dgm:prSet phldrT="[Texto]" custT="1"/>
      <dgm:spPr/>
      <dgm:t>
        <a:bodyPr/>
        <a:lstStyle/>
        <a:p>
          <a:r>
            <a:rPr lang="es-EC" sz="1800" b="1" dirty="0" smtClean="0">
              <a:latin typeface="Calibri" pitchFamily="34" charset="0"/>
              <a:cs typeface="Calibri" pitchFamily="34" charset="0"/>
            </a:rPr>
            <a:t>Difusión de software dañino [</a:t>
          </a:r>
          <a:r>
            <a:rPr lang="es-EC" sz="1800" b="1" dirty="0" err="1" smtClean="0">
              <a:latin typeface="Calibri" pitchFamily="34" charset="0"/>
              <a:cs typeface="Calibri" pitchFamily="34" charset="0"/>
            </a:rPr>
            <a:t>E.5</a:t>
          </a:r>
          <a:r>
            <a:rPr lang="es-EC" sz="1800" b="1" dirty="0" smtClean="0">
              <a:latin typeface="Calibri" pitchFamily="34" charset="0"/>
              <a:cs typeface="Calibri" pitchFamily="34" charset="0"/>
            </a:rPr>
            <a:t>] </a:t>
          </a:r>
          <a:endParaRPr lang="es-ES" sz="1800" b="1" dirty="0">
            <a:latin typeface="Calibri" pitchFamily="34" charset="0"/>
            <a:cs typeface="Calibri" pitchFamily="34" charset="0"/>
          </a:endParaRPr>
        </a:p>
      </dgm:t>
    </dgm:pt>
    <dgm:pt modelId="{D538BBD1-6544-4C36-A20D-A485E7A54DB8}" type="parTrans" cxnId="{6061B4DD-A44C-482D-AD76-1DF4AB6D9B47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3421FEAA-E06D-4F59-8DA8-D9C71ECFD66E}" type="sibTrans" cxnId="{6061B4DD-A44C-482D-AD76-1DF4AB6D9B47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164C97EE-6815-438E-A171-F6A7B1C0DAAD}">
      <dgm:prSet phldrT="[Texto]" custT="1"/>
      <dgm:spPr/>
      <dgm:t>
        <a:bodyPr/>
        <a:lstStyle/>
        <a:p>
          <a:r>
            <a:rPr lang="es-EC" sz="1800" dirty="0" smtClean="0">
              <a:latin typeface="Calibri" pitchFamily="34" charset="0"/>
              <a:cs typeface="Calibri" pitchFamily="34" charset="0"/>
            </a:rPr>
            <a:t>(C2) - (L1) - [D] - </a:t>
          </a:r>
          <a:r>
            <a:rPr lang="es-ES" sz="1800" dirty="0" smtClean="0">
              <a:latin typeface="Calibri" pitchFamily="34" charset="0"/>
              <a:cs typeface="Calibri" pitchFamily="34" charset="0"/>
            </a:rPr>
            <a:t>[I] - [C] </a:t>
          </a:r>
          <a:endParaRPr lang="es-ES" sz="1800" dirty="0">
            <a:latin typeface="Calibri" pitchFamily="34" charset="0"/>
            <a:cs typeface="Calibri" pitchFamily="34" charset="0"/>
          </a:endParaRPr>
        </a:p>
      </dgm:t>
    </dgm:pt>
    <dgm:pt modelId="{20C68D5D-DE42-4167-B852-CEF33D6DFBEC}" type="parTrans" cxnId="{7F1C50C6-08DE-452F-BCF1-19C094C91507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505ABE01-1D3C-4F1E-A740-661E81CD3CC1}" type="sibTrans" cxnId="{7F1C50C6-08DE-452F-BCF1-19C094C91507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468D27DE-FF7D-4B59-B575-85AAA905F3BC}">
      <dgm:prSet phldrT="[Texto]" custT="1"/>
      <dgm:spPr/>
      <dgm:t>
        <a:bodyPr/>
        <a:lstStyle/>
        <a:p>
          <a:r>
            <a:rPr lang="es-EC" sz="1800" b="1" dirty="0" smtClean="0">
              <a:latin typeface="Calibri" pitchFamily="34" charset="0"/>
              <a:cs typeface="Calibri" pitchFamily="34" charset="0"/>
            </a:rPr>
            <a:t>Destrucción la información [</a:t>
          </a:r>
          <a:r>
            <a:rPr lang="es-EC" sz="1800" b="1" dirty="0" err="1" smtClean="0">
              <a:latin typeface="Calibri" pitchFamily="34" charset="0"/>
              <a:cs typeface="Calibri" pitchFamily="34" charset="0"/>
            </a:rPr>
            <a:t>A.13</a:t>
          </a:r>
          <a:r>
            <a:rPr lang="es-EC" sz="1800" b="1" dirty="0" smtClean="0">
              <a:latin typeface="Calibri" pitchFamily="34" charset="0"/>
              <a:cs typeface="Calibri" pitchFamily="34" charset="0"/>
            </a:rPr>
            <a:t>] </a:t>
          </a:r>
          <a:endParaRPr lang="es-ES" sz="1800" b="1" dirty="0">
            <a:latin typeface="Calibri" pitchFamily="34" charset="0"/>
            <a:cs typeface="Calibri" pitchFamily="34" charset="0"/>
          </a:endParaRPr>
        </a:p>
      </dgm:t>
    </dgm:pt>
    <dgm:pt modelId="{66807AAF-0C39-44D3-9C54-D806D2C13BC0}" type="parTrans" cxnId="{641A4080-CD2E-4963-B101-AA68864728DB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DB76B950-D9A2-4FF6-8E40-AEA36079B50D}" type="sibTrans" cxnId="{641A4080-CD2E-4963-B101-AA68864728DB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FEB8F535-CD60-44E9-99A8-89DFDB52DCEB}">
      <dgm:prSet phldrT="[Texto]" custT="1"/>
      <dgm:spPr/>
      <dgm:t>
        <a:bodyPr/>
        <a:lstStyle/>
        <a:p>
          <a:r>
            <a:rPr lang="es-EC" sz="1800" dirty="0" smtClean="0">
              <a:latin typeface="Calibri" pitchFamily="34" charset="0"/>
              <a:cs typeface="Calibri" pitchFamily="34" charset="0"/>
            </a:rPr>
            <a:t>(C1) - (C2) - (L1) - [D]</a:t>
          </a:r>
          <a:endParaRPr lang="es-ES" sz="1800" dirty="0">
            <a:latin typeface="Calibri" pitchFamily="34" charset="0"/>
            <a:cs typeface="Calibri" pitchFamily="34" charset="0"/>
          </a:endParaRPr>
        </a:p>
      </dgm:t>
    </dgm:pt>
    <dgm:pt modelId="{F8423F6A-CBBF-446E-A796-2AF051C855B2}" type="parTrans" cxnId="{EE31868C-0935-4748-A727-E75449F24573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5D936630-D1F9-462D-898F-DE80A4236566}" type="sibTrans" cxnId="{EE31868C-0935-4748-A727-E75449F24573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28D2910F-65C8-4FA3-904C-1A455A09C5F9}">
      <dgm:prSet custT="1"/>
      <dgm:spPr/>
      <dgm:t>
        <a:bodyPr/>
        <a:lstStyle/>
        <a:p>
          <a:pPr algn="ctr"/>
          <a:r>
            <a:rPr lang="es-ES" sz="18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Información / Datos</a:t>
          </a:r>
          <a:endParaRPr lang="es-ES" sz="1800" dirty="0">
            <a:latin typeface="Calibri" pitchFamily="34" charset="0"/>
            <a:cs typeface="Calibri" pitchFamily="34" charset="0"/>
          </a:endParaRPr>
        </a:p>
      </dgm:t>
    </dgm:pt>
    <dgm:pt modelId="{9A7A520B-259A-4638-9DC8-944829944EA7}" type="parTrans" cxnId="{C425569C-3837-4B90-B066-5CABED5737E8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9E96A37D-5AFF-4695-9DEE-02475F27F502}" type="sibTrans" cxnId="{C425569C-3837-4B90-B066-5CABED5737E8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0AA8CAB7-7D04-4A5C-9D94-BD49A19560B2}" type="pres">
      <dgm:prSet presAssocID="{FE38019B-8F8D-4730-9E22-71FC2475B430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C3210197-0A50-47A4-9E43-FE8D04697B8F}" type="pres">
      <dgm:prSet presAssocID="{28D2910F-65C8-4FA3-904C-1A455A09C5F9}" presName="parentLin" presStyleCnt="0"/>
      <dgm:spPr/>
    </dgm:pt>
    <dgm:pt modelId="{30D123D1-29BC-42C8-8FAE-44B25C5585FE}" type="pres">
      <dgm:prSet presAssocID="{28D2910F-65C8-4FA3-904C-1A455A09C5F9}" presName="parentLeftMargin" presStyleLbl="node1" presStyleIdx="0" presStyleCnt="3"/>
      <dgm:spPr/>
      <dgm:t>
        <a:bodyPr/>
        <a:lstStyle/>
        <a:p>
          <a:endParaRPr lang="es-ES"/>
        </a:p>
      </dgm:t>
    </dgm:pt>
    <dgm:pt modelId="{BBDAA9AC-9B40-475F-AE88-5C5C7579A1EE}" type="pres">
      <dgm:prSet presAssocID="{28D2910F-65C8-4FA3-904C-1A455A09C5F9}" presName="parentText" presStyleLbl="node1" presStyleIdx="0" presStyleCnt="3" custScaleX="94365" custScaleY="20952" custLinFactNeighborY="-65585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D6F4382-ADE4-41C2-8DD0-B8EB0F8BC18F}" type="pres">
      <dgm:prSet presAssocID="{28D2910F-65C8-4FA3-904C-1A455A09C5F9}" presName="negativeSpace" presStyleCnt="0"/>
      <dgm:spPr/>
    </dgm:pt>
    <dgm:pt modelId="{74C4CDF0-B00F-4334-8304-AE8F5EFE534E}" type="pres">
      <dgm:prSet presAssocID="{28D2910F-65C8-4FA3-904C-1A455A09C5F9}" presName="childText" presStyleLbl="conFgAcc1" presStyleIdx="0" presStyleCnt="3" custScaleY="19507" custLinFactY="-6256" custLinFactNeighborY="-100000">
        <dgm:presLayoutVars>
          <dgm:bulletEnabled val="1"/>
        </dgm:presLayoutVars>
      </dgm:prSet>
      <dgm:spPr/>
    </dgm:pt>
    <dgm:pt modelId="{96C38A8A-37E7-4992-88A0-15A1E4B006EA}" type="pres">
      <dgm:prSet presAssocID="{9E96A37D-5AFF-4695-9DEE-02475F27F502}" presName="spaceBetweenRectangles" presStyleCnt="0"/>
      <dgm:spPr/>
    </dgm:pt>
    <dgm:pt modelId="{300ADAAF-799A-46ED-894E-04C22FAFFF55}" type="pres">
      <dgm:prSet presAssocID="{2EE93862-5DC7-4848-9B57-DBF80E159F4E}" presName="parentLin" presStyleCnt="0"/>
      <dgm:spPr/>
    </dgm:pt>
    <dgm:pt modelId="{97CFF4AA-7FA9-4AEA-AEA1-5B9FA844534F}" type="pres">
      <dgm:prSet presAssocID="{2EE93862-5DC7-4848-9B57-DBF80E159F4E}" presName="parentLeftMargin" presStyleLbl="node1" presStyleIdx="0" presStyleCnt="3"/>
      <dgm:spPr/>
      <dgm:t>
        <a:bodyPr/>
        <a:lstStyle/>
        <a:p>
          <a:endParaRPr lang="es-ES"/>
        </a:p>
      </dgm:t>
    </dgm:pt>
    <dgm:pt modelId="{4708A09C-38BC-45D8-B5B8-6A68B9E0731D}" type="pres">
      <dgm:prSet presAssocID="{2EE93862-5DC7-4848-9B57-DBF80E159F4E}" presName="parentText" presStyleLbl="node1" presStyleIdx="1" presStyleCnt="3" custScaleX="117767" custScaleY="18660" custLinFactNeighborY="-33017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31EA23A-65CC-47A6-8533-F9FA63F55D0F}" type="pres">
      <dgm:prSet presAssocID="{2EE93862-5DC7-4848-9B57-DBF80E159F4E}" presName="negativeSpace" presStyleCnt="0"/>
      <dgm:spPr/>
    </dgm:pt>
    <dgm:pt modelId="{F2CA3AC2-A9B7-4684-BBEF-ACAF682A5B81}" type="pres">
      <dgm:prSet presAssocID="{2EE93862-5DC7-4848-9B57-DBF80E159F4E}" presName="childText" presStyleLbl="conFgAcc1" presStyleIdx="1" presStyleCnt="3" custScaleX="100000" custScaleY="38253" custLinFactNeighborY="6893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6A5D333-78BD-49EC-A771-604244C29AD9}" type="pres">
      <dgm:prSet presAssocID="{3421FEAA-E06D-4F59-8DA8-D9C71ECFD66E}" presName="spaceBetweenRectangles" presStyleCnt="0"/>
      <dgm:spPr/>
    </dgm:pt>
    <dgm:pt modelId="{72DA5A23-C1DC-4D01-961F-9984DA6A5AA9}" type="pres">
      <dgm:prSet presAssocID="{468D27DE-FF7D-4B59-B575-85AAA905F3BC}" presName="parentLin" presStyleCnt="0"/>
      <dgm:spPr/>
    </dgm:pt>
    <dgm:pt modelId="{34D94F00-D5E8-429C-A979-59F7DB7633A3}" type="pres">
      <dgm:prSet presAssocID="{468D27DE-FF7D-4B59-B575-85AAA905F3BC}" presName="parentLeftMargin" presStyleLbl="node1" presStyleIdx="1" presStyleCnt="3"/>
      <dgm:spPr/>
      <dgm:t>
        <a:bodyPr/>
        <a:lstStyle/>
        <a:p>
          <a:endParaRPr lang="es-ES"/>
        </a:p>
      </dgm:t>
    </dgm:pt>
    <dgm:pt modelId="{BDBA386B-5B9B-4439-8EE0-9489B12D80E6}" type="pres">
      <dgm:prSet presAssocID="{468D27DE-FF7D-4B59-B575-85AAA905F3BC}" presName="parentText" presStyleLbl="node1" presStyleIdx="2" presStyleCnt="3" custScaleX="118675" custScaleY="18177" custLinFactNeighborX="8579" custLinFactNeighborY="380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3F3D6B1-6180-4CA7-9840-471D3990F1ED}" type="pres">
      <dgm:prSet presAssocID="{468D27DE-FF7D-4B59-B575-85AAA905F3BC}" presName="negativeSpace" presStyleCnt="0"/>
      <dgm:spPr/>
    </dgm:pt>
    <dgm:pt modelId="{5A3E2EFC-6DBD-40A4-A2B7-FA2ABEF90FB3}" type="pres">
      <dgm:prSet presAssocID="{468D27DE-FF7D-4B59-B575-85AAA905F3BC}" presName="childText" presStyleLbl="conFgAcc1" presStyleIdx="2" presStyleCnt="3" custScaleY="34174" custLinFactNeighborY="8563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E207FFEA-9B42-4710-8242-7FB2F3AF38A2}" type="presOf" srcId="{FE38019B-8F8D-4730-9E22-71FC2475B430}" destId="{0AA8CAB7-7D04-4A5C-9D94-BD49A19560B2}" srcOrd="0" destOrd="0" presId="urn:microsoft.com/office/officeart/2005/8/layout/list1"/>
    <dgm:cxn modelId="{A7C0DAC4-D4A8-41BC-B2A6-A3C14A66861A}" type="presOf" srcId="{2EE93862-5DC7-4848-9B57-DBF80E159F4E}" destId="{4708A09C-38BC-45D8-B5B8-6A68B9E0731D}" srcOrd="1" destOrd="0" presId="urn:microsoft.com/office/officeart/2005/8/layout/list1"/>
    <dgm:cxn modelId="{C957C1C4-3CE2-41D5-96C0-BFE5A841F927}" type="presOf" srcId="{468D27DE-FF7D-4B59-B575-85AAA905F3BC}" destId="{34D94F00-D5E8-429C-A979-59F7DB7633A3}" srcOrd="0" destOrd="0" presId="urn:microsoft.com/office/officeart/2005/8/layout/list1"/>
    <dgm:cxn modelId="{EE31868C-0935-4748-A727-E75449F24573}" srcId="{468D27DE-FF7D-4B59-B575-85AAA905F3BC}" destId="{FEB8F535-CD60-44E9-99A8-89DFDB52DCEB}" srcOrd="0" destOrd="0" parTransId="{F8423F6A-CBBF-446E-A796-2AF051C855B2}" sibTransId="{5D936630-D1F9-462D-898F-DE80A4236566}"/>
    <dgm:cxn modelId="{2D267546-6E8C-44B0-BB4C-B75B3649ACE7}" type="presOf" srcId="{28D2910F-65C8-4FA3-904C-1A455A09C5F9}" destId="{30D123D1-29BC-42C8-8FAE-44B25C5585FE}" srcOrd="0" destOrd="0" presId="urn:microsoft.com/office/officeart/2005/8/layout/list1"/>
    <dgm:cxn modelId="{38B87A0E-F4C3-4F94-AA2F-3E1C6A784A21}" type="presOf" srcId="{164C97EE-6815-438E-A171-F6A7B1C0DAAD}" destId="{F2CA3AC2-A9B7-4684-BBEF-ACAF682A5B81}" srcOrd="0" destOrd="0" presId="urn:microsoft.com/office/officeart/2005/8/layout/list1"/>
    <dgm:cxn modelId="{4863DFD7-4F96-4EE2-8B30-6C66147396AE}" type="presOf" srcId="{2EE93862-5DC7-4848-9B57-DBF80E159F4E}" destId="{97CFF4AA-7FA9-4AEA-AEA1-5B9FA844534F}" srcOrd="0" destOrd="0" presId="urn:microsoft.com/office/officeart/2005/8/layout/list1"/>
    <dgm:cxn modelId="{C425569C-3837-4B90-B066-5CABED5737E8}" srcId="{FE38019B-8F8D-4730-9E22-71FC2475B430}" destId="{28D2910F-65C8-4FA3-904C-1A455A09C5F9}" srcOrd="0" destOrd="0" parTransId="{9A7A520B-259A-4638-9DC8-944829944EA7}" sibTransId="{9E96A37D-5AFF-4695-9DEE-02475F27F502}"/>
    <dgm:cxn modelId="{543BE037-BE9E-4F40-B710-95533DC2F0E6}" type="presOf" srcId="{FEB8F535-CD60-44E9-99A8-89DFDB52DCEB}" destId="{5A3E2EFC-6DBD-40A4-A2B7-FA2ABEF90FB3}" srcOrd="0" destOrd="0" presId="urn:microsoft.com/office/officeart/2005/8/layout/list1"/>
    <dgm:cxn modelId="{641A4080-CD2E-4963-B101-AA68864728DB}" srcId="{FE38019B-8F8D-4730-9E22-71FC2475B430}" destId="{468D27DE-FF7D-4B59-B575-85AAA905F3BC}" srcOrd="2" destOrd="0" parTransId="{66807AAF-0C39-44D3-9C54-D806D2C13BC0}" sibTransId="{DB76B950-D9A2-4FF6-8E40-AEA36079B50D}"/>
    <dgm:cxn modelId="{7F1C50C6-08DE-452F-BCF1-19C094C91507}" srcId="{2EE93862-5DC7-4848-9B57-DBF80E159F4E}" destId="{164C97EE-6815-438E-A171-F6A7B1C0DAAD}" srcOrd="0" destOrd="0" parTransId="{20C68D5D-DE42-4167-B852-CEF33D6DFBEC}" sibTransId="{505ABE01-1D3C-4F1E-A740-661E81CD3CC1}"/>
    <dgm:cxn modelId="{E60569AF-6E44-45E2-8045-E69573A181A8}" type="presOf" srcId="{468D27DE-FF7D-4B59-B575-85AAA905F3BC}" destId="{BDBA386B-5B9B-4439-8EE0-9489B12D80E6}" srcOrd="1" destOrd="0" presId="urn:microsoft.com/office/officeart/2005/8/layout/list1"/>
    <dgm:cxn modelId="{6682B155-AAA1-4EED-AAB3-15A44521A1F2}" type="presOf" srcId="{28D2910F-65C8-4FA3-904C-1A455A09C5F9}" destId="{BBDAA9AC-9B40-475F-AE88-5C5C7579A1EE}" srcOrd="1" destOrd="0" presId="urn:microsoft.com/office/officeart/2005/8/layout/list1"/>
    <dgm:cxn modelId="{6061B4DD-A44C-482D-AD76-1DF4AB6D9B47}" srcId="{FE38019B-8F8D-4730-9E22-71FC2475B430}" destId="{2EE93862-5DC7-4848-9B57-DBF80E159F4E}" srcOrd="1" destOrd="0" parTransId="{D538BBD1-6544-4C36-A20D-A485E7A54DB8}" sibTransId="{3421FEAA-E06D-4F59-8DA8-D9C71ECFD66E}"/>
    <dgm:cxn modelId="{6728C0A6-9DFB-4B93-B0B6-11BE86291894}" type="presParOf" srcId="{0AA8CAB7-7D04-4A5C-9D94-BD49A19560B2}" destId="{C3210197-0A50-47A4-9E43-FE8D04697B8F}" srcOrd="0" destOrd="0" presId="urn:microsoft.com/office/officeart/2005/8/layout/list1"/>
    <dgm:cxn modelId="{95FCF3E1-DCA6-43BD-88BE-1C07252C9FCC}" type="presParOf" srcId="{C3210197-0A50-47A4-9E43-FE8D04697B8F}" destId="{30D123D1-29BC-42C8-8FAE-44B25C5585FE}" srcOrd="0" destOrd="0" presId="urn:microsoft.com/office/officeart/2005/8/layout/list1"/>
    <dgm:cxn modelId="{CF000C72-86FC-410E-A808-482F5526B6A8}" type="presParOf" srcId="{C3210197-0A50-47A4-9E43-FE8D04697B8F}" destId="{BBDAA9AC-9B40-475F-AE88-5C5C7579A1EE}" srcOrd="1" destOrd="0" presId="urn:microsoft.com/office/officeart/2005/8/layout/list1"/>
    <dgm:cxn modelId="{6D1EB267-F247-4255-849B-8968FA2DA582}" type="presParOf" srcId="{0AA8CAB7-7D04-4A5C-9D94-BD49A19560B2}" destId="{8D6F4382-ADE4-41C2-8DD0-B8EB0F8BC18F}" srcOrd="1" destOrd="0" presId="urn:microsoft.com/office/officeart/2005/8/layout/list1"/>
    <dgm:cxn modelId="{9F894814-8C51-490F-881B-D877A28EC8D3}" type="presParOf" srcId="{0AA8CAB7-7D04-4A5C-9D94-BD49A19560B2}" destId="{74C4CDF0-B00F-4334-8304-AE8F5EFE534E}" srcOrd="2" destOrd="0" presId="urn:microsoft.com/office/officeart/2005/8/layout/list1"/>
    <dgm:cxn modelId="{E7EF8572-3386-407C-883C-4EAE08C49BB8}" type="presParOf" srcId="{0AA8CAB7-7D04-4A5C-9D94-BD49A19560B2}" destId="{96C38A8A-37E7-4992-88A0-15A1E4B006EA}" srcOrd="3" destOrd="0" presId="urn:microsoft.com/office/officeart/2005/8/layout/list1"/>
    <dgm:cxn modelId="{63BCCFF8-9B40-4BB5-B0A9-E9EADFD26635}" type="presParOf" srcId="{0AA8CAB7-7D04-4A5C-9D94-BD49A19560B2}" destId="{300ADAAF-799A-46ED-894E-04C22FAFFF55}" srcOrd="4" destOrd="0" presId="urn:microsoft.com/office/officeart/2005/8/layout/list1"/>
    <dgm:cxn modelId="{3DAAA16C-AC9B-48FF-8838-4DDFB024DAEC}" type="presParOf" srcId="{300ADAAF-799A-46ED-894E-04C22FAFFF55}" destId="{97CFF4AA-7FA9-4AEA-AEA1-5B9FA844534F}" srcOrd="0" destOrd="0" presId="urn:microsoft.com/office/officeart/2005/8/layout/list1"/>
    <dgm:cxn modelId="{CA3E6847-2E5F-4F24-9FAC-363EC20D3500}" type="presParOf" srcId="{300ADAAF-799A-46ED-894E-04C22FAFFF55}" destId="{4708A09C-38BC-45D8-B5B8-6A68B9E0731D}" srcOrd="1" destOrd="0" presId="urn:microsoft.com/office/officeart/2005/8/layout/list1"/>
    <dgm:cxn modelId="{2E4A974E-8FD8-4317-8F82-5156463F5661}" type="presParOf" srcId="{0AA8CAB7-7D04-4A5C-9D94-BD49A19560B2}" destId="{731EA23A-65CC-47A6-8533-F9FA63F55D0F}" srcOrd="5" destOrd="0" presId="urn:microsoft.com/office/officeart/2005/8/layout/list1"/>
    <dgm:cxn modelId="{22959CFF-1EB6-4B66-A1E5-595AD09EC4DF}" type="presParOf" srcId="{0AA8CAB7-7D04-4A5C-9D94-BD49A19560B2}" destId="{F2CA3AC2-A9B7-4684-BBEF-ACAF682A5B81}" srcOrd="6" destOrd="0" presId="urn:microsoft.com/office/officeart/2005/8/layout/list1"/>
    <dgm:cxn modelId="{B2DA472A-D855-440B-9F3E-70B4DACD66B1}" type="presParOf" srcId="{0AA8CAB7-7D04-4A5C-9D94-BD49A19560B2}" destId="{86A5D333-78BD-49EC-A771-604244C29AD9}" srcOrd="7" destOrd="0" presId="urn:microsoft.com/office/officeart/2005/8/layout/list1"/>
    <dgm:cxn modelId="{1137DDD5-4A09-41E5-88FF-64BE287F7F15}" type="presParOf" srcId="{0AA8CAB7-7D04-4A5C-9D94-BD49A19560B2}" destId="{72DA5A23-C1DC-4D01-961F-9984DA6A5AA9}" srcOrd="8" destOrd="0" presId="urn:microsoft.com/office/officeart/2005/8/layout/list1"/>
    <dgm:cxn modelId="{BEB0251C-258B-4308-916A-C2E83A83D969}" type="presParOf" srcId="{72DA5A23-C1DC-4D01-961F-9984DA6A5AA9}" destId="{34D94F00-D5E8-429C-A979-59F7DB7633A3}" srcOrd="0" destOrd="0" presId="urn:microsoft.com/office/officeart/2005/8/layout/list1"/>
    <dgm:cxn modelId="{E9187EB9-4EBE-40DF-8EF9-654E98F1D240}" type="presParOf" srcId="{72DA5A23-C1DC-4D01-961F-9984DA6A5AA9}" destId="{BDBA386B-5B9B-4439-8EE0-9489B12D80E6}" srcOrd="1" destOrd="0" presId="urn:microsoft.com/office/officeart/2005/8/layout/list1"/>
    <dgm:cxn modelId="{BE2BDBCA-071A-47E2-992B-C3B5FF52296F}" type="presParOf" srcId="{0AA8CAB7-7D04-4A5C-9D94-BD49A19560B2}" destId="{13F3D6B1-6180-4CA7-9840-471D3990F1ED}" srcOrd="9" destOrd="0" presId="urn:microsoft.com/office/officeart/2005/8/layout/list1"/>
    <dgm:cxn modelId="{DCCDE9FA-6CD5-4C8B-8E70-8A5BE99A1DC8}" type="presParOf" srcId="{0AA8CAB7-7D04-4A5C-9D94-BD49A19560B2}" destId="{5A3E2EFC-6DBD-40A4-A2B7-FA2ABEF90FB3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B4F3D0EF-1360-4DE4-B0BA-FE06ED469A2F}" type="doc">
      <dgm:prSet loTypeId="urn:microsoft.com/office/officeart/2005/8/layout/equation1" loCatId="process" qsTypeId="urn:microsoft.com/office/officeart/2005/8/quickstyle/simple5" qsCatId="simple" csTypeId="urn:microsoft.com/office/officeart/2005/8/colors/accent2_3" csCatId="accent2" phldr="1"/>
      <dgm:spPr/>
    </dgm:pt>
    <dgm:pt modelId="{34071257-348A-43C9-B5C7-4EFA824F11B5}">
      <dgm:prSet phldrT="[Texto]" custT="1"/>
      <dgm:spPr/>
      <dgm:t>
        <a:bodyPr/>
        <a:lstStyle/>
        <a:p>
          <a:r>
            <a:rPr lang="es-ES" sz="2400" b="1" dirty="0" smtClean="0">
              <a:latin typeface="Calibri" pitchFamily="34" charset="0"/>
              <a:cs typeface="Calibri" pitchFamily="34" charset="0"/>
            </a:rPr>
            <a:t>F</a:t>
          </a:r>
          <a:endParaRPr lang="es-ES" sz="2400" b="1" dirty="0">
            <a:latin typeface="Calibri" pitchFamily="34" charset="0"/>
            <a:cs typeface="Calibri" pitchFamily="34" charset="0"/>
          </a:endParaRPr>
        </a:p>
      </dgm:t>
    </dgm:pt>
    <dgm:pt modelId="{835C15D7-1036-4CEF-BF7C-E46F5E61669D}" type="parTrans" cxnId="{0815F773-C1B2-455E-B60D-A0ADEB175FC7}">
      <dgm:prSet/>
      <dgm:spPr/>
      <dgm:t>
        <a:bodyPr/>
        <a:lstStyle/>
        <a:p>
          <a:endParaRPr lang="es-ES" sz="2400" b="1">
            <a:latin typeface="Calibri" pitchFamily="34" charset="0"/>
            <a:cs typeface="Calibri" pitchFamily="34" charset="0"/>
          </a:endParaRPr>
        </a:p>
      </dgm:t>
    </dgm:pt>
    <dgm:pt modelId="{AAB788E5-29A3-4586-A622-0E1D25A5C2BE}" type="sibTrans" cxnId="{0815F773-C1B2-455E-B60D-A0ADEB175FC7}">
      <dgm:prSet custT="1"/>
      <dgm:spPr/>
      <dgm:t>
        <a:bodyPr/>
        <a:lstStyle/>
        <a:p>
          <a:endParaRPr lang="es-ES" sz="2400" b="1">
            <a:latin typeface="Calibri" pitchFamily="34" charset="0"/>
            <a:cs typeface="Calibri" pitchFamily="34" charset="0"/>
          </a:endParaRPr>
        </a:p>
      </dgm:t>
    </dgm:pt>
    <dgm:pt modelId="{5531CA1D-AE9E-4041-9265-236C491A783E}">
      <dgm:prSet phldrT="[Texto]" custT="1"/>
      <dgm:spPr/>
      <dgm:t>
        <a:bodyPr/>
        <a:lstStyle/>
        <a:p>
          <a:r>
            <a:rPr lang="es-ES" sz="2400" b="1" dirty="0" smtClean="0">
              <a:latin typeface="Calibri" pitchFamily="34" charset="0"/>
              <a:cs typeface="Calibri" pitchFamily="34" charset="0"/>
            </a:rPr>
            <a:t>I</a:t>
          </a:r>
          <a:endParaRPr lang="es-ES" sz="2400" b="1" dirty="0">
            <a:latin typeface="Calibri" pitchFamily="34" charset="0"/>
            <a:cs typeface="Calibri" pitchFamily="34" charset="0"/>
          </a:endParaRPr>
        </a:p>
      </dgm:t>
    </dgm:pt>
    <dgm:pt modelId="{59A93DC1-1AB0-4A38-B992-9872E7446427}" type="parTrans" cxnId="{B7574F1E-B2E5-447F-A7E0-81C51752A94C}">
      <dgm:prSet/>
      <dgm:spPr/>
      <dgm:t>
        <a:bodyPr/>
        <a:lstStyle/>
        <a:p>
          <a:endParaRPr lang="es-ES" sz="2400" b="1">
            <a:latin typeface="Calibri" pitchFamily="34" charset="0"/>
            <a:cs typeface="Calibri" pitchFamily="34" charset="0"/>
          </a:endParaRPr>
        </a:p>
      </dgm:t>
    </dgm:pt>
    <dgm:pt modelId="{51E4979B-C65D-4107-A184-557C6313CC51}" type="sibTrans" cxnId="{B7574F1E-B2E5-447F-A7E0-81C51752A94C}">
      <dgm:prSet custT="1"/>
      <dgm:spPr/>
      <dgm:t>
        <a:bodyPr/>
        <a:lstStyle/>
        <a:p>
          <a:endParaRPr lang="es-ES" sz="2400" b="1">
            <a:latin typeface="Calibri" pitchFamily="34" charset="0"/>
            <a:cs typeface="Calibri" pitchFamily="34" charset="0"/>
          </a:endParaRPr>
        </a:p>
      </dgm:t>
    </dgm:pt>
    <dgm:pt modelId="{FFFE5C25-3F34-4BF8-B1EA-CB21E0CB60F4}">
      <dgm:prSet phldrT="[Texto]" custT="1"/>
      <dgm:spPr/>
      <dgm:t>
        <a:bodyPr/>
        <a:lstStyle/>
        <a:p>
          <a:r>
            <a:rPr lang="es-ES" sz="2400" b="1" dirty="0" smtClean="0">
              <a:latin typeface="Calibri" pitchFamily="34" charset="0"/>
              <a:cs typeface="Calibri" pitchFamily="34" charset="0"/>
            </a:rPr>
            <a:t>R</a:t>
          </a:r>
          <a:endParaRPr lang="es-ES" sz="2400" b="1" dirty="0">
            <a:latin typeface="Calibri" pitchFamily="34" charset="0"/>
            <a:cs typeface="Calibri" pitchFamily="34" charset="0"/>
          </a:endParaRPr>
        </a:p>
      </dgm:t>
    </dgm:pt>
    <dgm:pt modelId="{A3326BD9-94A2-4106-9E37-BF608B0EA531}" type="parTrans" cxnId="{165BA02D-07A3-4137-A8E4-386176236C6B}">
      <dgm:prSet/>
      <dgm:spPr/>
      <dgm:t>
        <a:bodyPr/>
        <a:lstStyle/>
        <a:p>
          <a:endParaRPr lang="es-ES" sz="2400" b="1">
            <a:latin typeface="Calibri" pitchFamily="34" charset="0"/>
            <a:cs typeface="Calibri" pitchFamily="34" charset="0"/>
          </a:endParaRPr>
        </a:p>
      </dgm:t>
    </dgm:pt>
    <dgm:pt modelId="{EABE5977-26DD-4646-A6A3-CDF153C8A65C}" type="sibTrans" cxnId="{165BA02D-07A3-4137-A8E4-386176236C6B}">
      <dgm:prSet/>
      <dgm:spPr/>
      <dgm:t>
        <a:bodyPr/>
        <a:lstStyle/>
        <a:p>
          <a:endParaRPr lang="es-ES" sz="2400" b="1">
            <a:latin typeface="Calibri" pitchFamily="34" charset="0"/>
            <a:cs typeface="Calibri" pitchFamily="34" charset="0"/>
          </a:endParaRPr>
        </a:p>
      </dgm:t>
    </dgm:pt>
    <dgm:pt modelId="{D75511CC-B7A6-4842-B936-9B5C84E5F1C1}" type="pres">
      <dgm:prSet presAssocID="{B4F3D0EF-1360-4DE4-B0BA-FE06ED469A2F}" presName="linearFlow" presStyleCnt="0">
        <dgm:presLayoutVars>
          <dgm:dir/>
          <dgm:resizeHandles val="exact"/>
        </dgm:presLayoutVars>
      </dgm:prSet>
      <dgm:spPr/>
    </dgm:pt>
    <dgm:pt modelId="{D5C30FD1-6D78-4BD8-8F5C-AE42CC49A91E}" type="pres">
      <dgm:prSet presAssocID="{34071257-348A-43C9-B5C7-4EFA824F11B5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7EE362C-E266-4342-B26C-F5A1DDE4EE06}" type="pres">
      <dgm:prSet presAssocID="{AAB788E5-29A3-4586-A622-0E1D25A5C2BE}" presName="spacerL" presStyleCnt="0"/>
      <dgm:spPr/>
    </dgm:pt>
    <dgm:pt modelId="{DED9A101-1F7F-4F23-9034-9AED2A0F6434}" type="pres">
      <dgm:prSet presAssocID="{AAB788E5-29A3-4586-A622-0E1D25A5C2BE}" presName="sibTrans" presStyleLbl="sibTrans2D1" presStyleIdx="0" presStyleCnt="2"/>
      <dgm:spPr>
        <a:prstGeom prst="mathMultiply">
          <a:avLst/>
        </a:prstGeom>
      </dgm:spPr>
      <dgm:t>
        <a:bodyPr/>
        <a:lstStyle/>
        <a:p>
          <a:endParaRPr lang="es-ES"/>
        </a:p>
      </dgm:t>
    </dgm:pt>
    <dgm:pt modelId="{A4B07B4E-B14A-48C3-B36E-980D24D5CA53}" type="pres">
      <dgm:prSet presAssocID="{AAB788E5-29A3-4586-A622-0E1D25A5C2BE}" presName="spacerR" presStyleCnt="0"/>
      <dgm:spPr/>
    </dgm:pt>
    <dgm:pt modelId="{39D1B608-95C3-4E52-B9A6-DD4A80F0C641}" type="pres">
      <dgm:prSet presAssocID="{5531CA1D-AE9E-4041-9265-236C491A783E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818C05B-3F84-4396-8E94-A587DA91CAC4}" type="pres">
      <dgm:prSet presAssocID="{51E4979B-C65D-4107-A184-557C6313CC51}" presName="spacerL" presStyleCnt="0"/>
      <dgm:spPr/>
    </dgm:pt>
    <dgm:pt modelId="{4759E8C9-D21A-4CD1-B181-6A28EDC136F0}" type="pres">
      <dgm:prSet presAssocID="{51E4979B-C65D-4107-A184-557C6313CC51}" presName="sibTrans" presStyleLbl="sibTrans2D1" presStyleIdx="1" presStyleCnt="2"/>
      <dgm:spPr/>
      <dgm:t>
        <a:bodyPr/>
        <a:lstStyle/>
        <a:p>
          <a:endParaRPr lang="es-ES"/>
        </a:p>
      </dgm:t>
    </dgm:pt>
    <dgm:pt modelId="{C5CC01C1-0732-4EF2-8E19-63069E42594B}" type="pres">
      <dgm:prSet presAssocID="{51E4979B-C65D-4107-A184-557C6313CC51}" presName="spacerR" presStyleCnt="0"/>
      <dgm:spPr/>
    </dgm:pt>
    <dgm:pt modelId="{8FDD9D4B-79DE-4C05-BD7D-68C41C84E676}" type="pres">
      <dgm:prSet presAssocID="{FFFE5C25-3F34-4BF8-B1EA-CB21E0CB60F4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0815F773-C1B2-455E-B60D-A0ADEB175FC7}" srcId="{B4F3D0EF-1360-4DE4-B0BA-FE06ED469A2F}" destId="{34071257-348A-43C9-B5C7-4EFA824F11B5}" srcOrd="0" destOrd="0" parTransId="{835C15D7-1036-4CEF-BF7C-E46F5E61669D}" sibTransId="{AAB788E5-29A3-4586-A622-0E1D25A5C2BE}"/>
    <dgm:cxn modelId="{165BA02D-07A3-4137-A8E4-386176236C6B}" srcId="{B4F3D0EF-1360-4DE4-B0BA-FE06ED469A2F}" destId="{FFFE5C25-3F34-4BF8-B1EA-CB21E0CB60F4}" srcOrd="2" destOrd="0" parTransId="{A3326BD9-94A2-4106-9E37-BF608B0EA531}" sibTransId="{EABE5977-26DD-4646-A6A3-CDF153C8A65C}"/>
    <dgm:cxn modelId="{B7574F1E-B2E5-447F-A7E0-81C51752A94C}" srcId="{B4F3D0EF-1360-4DE4-B0BA-FE06ED469A2F}" destId="{5531CA1D-AE9E-4041-9265-236C491A783E}" srcOrd="1" destOrd="0" parTransId="{59A93DC1-1AB0-4A38-B992-9872E7446427}" sibTransId="{51E4979B-C65D-4107-A184-557C6313CC51}"/>
    <dgm:cxn modelId="{F209DBFD-962F-4E9A-A1B4-9F27702459CC}" type="presOf" srcId="{FFFE5C25-3F34-4BF8-B1EA-CB21E0CB60F4}" destId="{8FDD9D4B-79DE-4C05-BD7D-68C41C84E676}" srcOrd="0" destOrd="0" presId="urn:microsoft.com/office/officeart/2005/8/layout/equation1"/>
    <dgm:cxn modelId="{395FB758-1387-462D-8C39-5775C07B59A5}" type="presOf" srcId="{5531CA1D-AE9E-4041-9265-236C491A783E}" destId="{39D1B608-95C3-4E52-B9A6-DD4A80F0C641}" srcOrd="0" destOrd="0" presId="urn:microsoft.com/office/officeart/2005/8/layout/equation1"/>
    <dgm:cxn modelId="{E52A0F40-FD47-4BE8-B954-4AE24FDF0B4B}" type="presOf" srcId="{B4F3D0EF-1360-4DE4-B0BA-FE06ED469A2F}" destId="{D75511CC-B7A6-4842-B936-9B5C84E5F1C1}" srcOrd="0" destOrd="0" presId="urn:microsoft.com/office/officeart/2005/8/layout/equation1"/>
    <dgm:cxn modelId="{A27EA6EC-FF00-4716-ADCC-ADDCD10B4B8B}" type="presOf" srcId="{AAB788E5-29A3-4586-A622-0E1D25A5C2BE}" destId="{DED9A101-1F7F-4F23-9034-9AED2A0F6434}" srcOrd="0" destOrd="0" presId="urn:microsoft.com/office/officeart/2005/8/layout/equation1"/>
    <dgm:cxn modelId="{8E6669EC-2CA0-469F-9069-B708FFEF1C22}" type="presOf" srcId="{34071257-348A-43C9-B5C7-4EFA824F11B5}" destId="{D5C30FD1-6D78-4BD8-8F5C-AE42CC49A91E}" srcOrd="0" destOrd="0" presId="urn:microsoft.com/office/officeart/2005/8/layout/equation1"/>
    <dgm:cxn modelId="{80BA6638-ADFD-4701-A137-314F7120BF9F}" type="presOf" srcId="{51E4979B-C65D-4107-A184-557C6313CC51}" destId="{4759E8C9-D21A-4CD1-B181-6A28EDC136F0}" srcOrd="0" destOrd="0" presId="urn:microsoft.com/office/officeart/2005/8/layout/equation1"/>
    <dgm:cxn modelId="{168974E4-B8DE-485F-B786-DF7FE8B56E55}" type="presParOf" srcId="{D75511CC-B7A6-4842-B936-9B5C84E5F1C1}" destId="{D5C30FD1-6D78-4BD8-8F5C-AE42CC49A91E}" srcOrd="0" destOrd="0" presId="urn:microsoft.com/office/officeart/2005/8/layout/equation1"/>
    <dgm:cxn modelId="{0B461226-0695-4D52-BF43-D018DA1BAF54}" type="presParOf" srcId="{D75511CC-B7A6-4842-B936-9B5C84E5F1C1}" destId="{B7EE362C-E266-4342-B26C-F5A1DDE4EE06}" srcOrd="1" destOrd="0" presId="urn:microsoft.com/office/officeart/2005/8/layout/equation1"/>
    <dgm:cxn modelId="{86FC1DC4-D200-4E4F-BD34-E0B061F03CFE}" type="presParOf" srcId="{D75511CC-B7A6-4842-B936-9B5C84E5F1C1}" destId="{DED9A101-1F7F-4F23-9034-9AED2A0F6434}" srcOrd="2" destOrd="0" presId="urn:microsoft.com/office/officeart/2005/8/layout/equation1"/>
    <dgm:cxn modelId="{0A64BAA8-CBDF-4619-97CE-AB97C3D40CEB}" type="presParOf" srcId="{D75511CC-B7A6-4842-B936-9B5C84E5F1C1}" destId="{A4B07B4E-B14A-48C3-B36E-980D24D5CA53}" srcOrd="3" destOrd="0" presId="urn:microsoft.com/office/officeart/2005/8/layout/equation1"/>
    <dgm:cxn modelId="{B291CA3A-AD06-4D3D-94CD-F849CC82FB15}" type="presParOf" srcId="{D75511CC-B7A6-4842-B936-9B5C84E5F1C1}" destId="{39D1B608-95C3-4E52-B9A6-DD4A80F0C641}" srcOrd="4" destOrd="0" presId="urn:microsoft.com/office/officeart/2005/8/layout/equation1"/>
    <dgm:cxn modelId="{F9460BCC-F609-440C-AE03-340A8E6ADEFF}" type="presParOf" srcId="{D75511CC-B7A6-4842-B936-9B5C84E5F1C1}" destId="{4818C05B-3F84-4396-8E94-A587DA91CAC4}" srcOrd="5" destOrd="0" presId="urn:microsoft.com/office/officeart/2005/8/layout/equation1"/>
    <dgm:cxn modelId="{79692F2C-352A-47B8-A320-84C1C49C9872}" type="presParOf" srcId="{D75511CC-B7A6-4842-B936-9B5C84E5F1C1}" destId="{4759E8C9-D21A-4CD1-B181-6A28EDC136F0}" srcOrd="6" destOrd="0" presId="urn:microsoft.com/office/officeart/2005/8/layout/equation1"/>
    <dgm:cxn modelId="{EFF35DCF-115F-4F34-B177-2B595CAB5173}" type="presParOf" srcId="{D75511CC-B7A6-4842-B936-9B5C84E5F1C1}" destId="{C5CC01C1-0732-4EF2-8E19-63069E42594B}" srcOrd="7" destOrd="0" presId="urn:microsoft.com/office/officeart/2005/8/layout/equation1"/>
    <dgm:cxn modelId="{D5FAEB9C-7A1E-4CCA-9430-F1A78B879548}" type="presParOf" srcId="{D75511CC-B7A6-4842-B936-9B5C84E5F1C1}" destId="{8FDD9D4B-79DE-4C05-BD7D-68C41C84E676}" srcOrd="8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E38019B-8F8D-4730-9E22-71FC2475B430}" type="doc">
      <dgm:prSet loTypeId="urn:microsoft.com/office/officeart/2008/layout/VerticalCurvedList" loCatId="list" qsTypeId="urn:microsoft.com/office/officeart/2005/8/quickstyle/simple5" qsCatId="simple" csTypeId="urn:microsoft.com/office/officeart/2005/8/colors/accent1_3" csCatId="accent1" phldr="1"/>
      <dgm:spPr/>
      <dgm:t>
        <a:bodyPr/>
        <a:lstStyle/>
        <a:p>
          <a:endParaRPr lang="es-ES"/>
        </a:p>
      </dgm:t>
    </dgm:pt>
    <dgm:pt modelId="{468D27DE-FF7D-4B59-B575-85AAA905F3BC}">
      <dgm:prSet phldrT="[Texto]" custT="1"/>
      <dgm:spPr/>
      <dgm:t>
        <a:bodyPr/>
        <a:lstStyle/>
        <a:p>
          <a:pPr algn="ctr"/>
          <a:r>
            <a:rPr lang="es-EC" sz="2000" b="1" dirty="0" smtClean="0">
              <a:latin typeface="Calibri" pitchFamily="34" charset="0"/>
              <a:cs typeface="Calibri" pitchFamily="34" charset="0"/>
            </a:rPr>
            <a:t>Reducir</a:t>
          </a:r>
          <a:endParaRPr lang="es-ES" sz="2000" b="1" dirty="0">
            <a:latin typeface="Calibri" pitchFamily="34" charset="0"/>
            <a:cs typeface="Calibri" pitchFamily="34" charset="0"/>
          </a:endParaRPr>
        </a:p>
      </dgm:t>
    </dgm:pt>
    <dgm:pt modelId="{66807AAF-0C39-44D3-9C54-D806D2C13BC0}" type="parTrans" cxnId="{641A4080-CD2E-4963-B101-AA68864728DB}">
      <dgm:prSet/>
      <dgm:spPr/>
      <dgm:t>
        <a:bodyPr/>
        <a:lstStyle/>
        <a:p>
          <a:pPr algn="ctr"/>
          <a:endParaRPr lang="es-ES" sz="2000" b="1">
            <a:latin typeface="Calibri" pitchFamily="34" charset="0"/>
            <a:cs typeface="Calibri" pitchFamily="34" charset="0"/>
          </a:endParaRPr>
        </a:p>
      </dgm:t>
    </dgm:pt>
    <dgm:pt modelId="{DB76B950-D9A2-4FF6-8E40-AEA36079B50D}" type="sibTrans" cxnId="{641A4080-CD2E-4963-B101-AA68864728DB}">
      <dgm:prSet/>
      <dgm:spPr/>
      <dgm:t>
        <a:bodyPr/>
        <a:lstStyle/>
        <a:p>
          <a:pPr algn="ctr"/>
          <a:endParaRPr lang="es-ES" sz="2000" b="1">
            <a:latin typeface="Calibri" pitchFamily="34" charset="0"/>
            <a:cs typeface="Calibri" pitchFamily="34" charset="0"/>
          </a:endParaRPr>
        </a:p>
      </dgm:t>
    </dgm:pt>
    <dgm:pt modelId="{2EF45680-C8DE-47CF-9E10-BD3625A37404}">
      <dgm:prSet custT="1"/>
      <dgm:spPr/>
      <dgm:t>
        <a:bodyPr/>
        <a:lstStyle/>
        <a:p>
          <a:pPr algn="ctr"/>
          <a:r>
            <a:rPr lang="es-EC" sz="2000" b="1" dirty="0" smtClean="0">
              <a:latin typeface="Calibri" pitchFamily="34" charset="0"/>
              <a:cs typeface="Calibri" pitchFamily="34" charset="0"/>
            </a:rPr>
            <a:t>Transferir</a:t>
          </a:r>
          <a:endParaRPr lang="es-ES" sz="2000" b="1" dirty="0">
            <a:latin typeface="Calibri" pitchFamily="34" charset="0"/>
            <a:cs typeface="Calibri" pitchFamily="34" charset="0"/>
          </a:endParaRPr>
        </a:p>
      </dgm:t>
    </dgm:pt>
    <dgm:pt modelId="{B5641F44-FB98-4FD9-AC01-5CB3A983D89A}" type="parTrans" cxnId="{46120920-7EE1-4140-9D35-B08469B848A8}">
      <dgm:prSet/>
      <dgm:spPr/>
      <dgm:t>
        <a:bodyPr/>
        <a:lstStyle/>
        <a:p>
          <a:pPr algn="ctr"/>
          <a:endParaRPr lang="es-ES" sz="2000" b="1"/>
        </a:p>
      </dgm:t>
    </dgm:pt>
    <dgm:pt modelId="{8BCE01E5-F3F0-4A83-8955-6FA7716F8977}" type="sibTrans" cxnId="{46120920-7EE1-4140-9D35-B08469B848A8}">
      <dgm:prSet/>
      <dgm:spPr/>
      <dgm:t>
        <a:bodyPr/>
        <a:lstStyle/>
        <a:p>
          <a:pPr algn="ctr"/>
          <a:endParaRPr lang="es-ES" sz="2000" b="1"/>
        </a:p>
      </dgm:t>
    </dgm:pt>
    <dgm:pt modelId="{1EF5A9A3-BFE8-4F53-BEA2-7A1E9727AAF4}">
      <dgm:prSet phldrT="[Texto]" custT="1"/>
      <dgm:spPr/>
      <dgm:t>
        <a:bodyPr/>
        <a:lstStyle/>
        <a:p>
          <a:pPr algn="ctr"/>
          <a:r>
            <a:rPr lang="es-EC" sz="2000" b="1" smtClean="0">
              <a:latin typeface="Calibri" pitchFamily="34" charset="0"/>
              <a:cs typeface="Calibri" pitchFamily="34" charset="0"/>
            </a:rPr>
            <a:t>Aceptar</a:t>
          </a:r>
          <a:endParaRPr lang="es-ES" sz="2000" b="1" dirty="0">
            <a:latin typeface="Calibri" pitchFamily="34" charset="0"/>
            <a:cs typeface="Calibri" pitchFamily="34" charset="0"/>
          </a:endParaRPr>
        </a:p>
      </dgm:t>
    </dgm:pt>
    <dgm:pt modelId="{866A6234-AE13-4B12-AC8C-8641A177B639}" type="parTrans" cxnId="{0FAF55AC-0ABA-4190-BE70-3FEA5882D951}">
      <dgm:prSet/>
      <dgm:spPr/>
      <dgm:t>
        <a:bodyPr/>
        <a:lstStyle/>
        <a:p>
          <a:endParaRPr lang="es-ES"/>
        </a:p>
      </dgm:t>
    </dgm:pt>
    <dgm:pt modelId="{12801325-5C0E-469C-B361-5FCAFDA38381}" type="sibTrans" cxnId="{0FAF55AC-0ABA-4190-BE70-3FEA5882D951}">
      <dgm:prSet/>
      <dgm:spPr/>
      <dgm:t>
        <a:bodyPr/>
        <a:lstStyle/>
        <a:p>
          <a:endParaRPr lang="es-ES"/>
        </a:p>
      </dgm:t>
    </dgm:pt>
    <dgm:pt modelId="{39284B64-31ED-494C-8C0C-195440093469}">
      <dgm:prSet custT="1"/>
      <dgm:spPr/>
      <dgm:t>
        <a:bodyPr/>
        <a:lstStyle/>
        <a:p>
          <a:pPr algn="ctr"/>
          <a:r>
            <a:rPr lang="es-ES" sz="2000" b="1" smtClean="0">
              <a:latin typeface="Calibri" pitchFamily="34" charset="0"/>
              <a:cs typeface="Calibri" pitchFamily="34" charset="0"/>
            </a:rPr>
            <a:t>Evitar</a:t>
          </a:r>
          <a:endParaRPr lang="es-ES" sz="2000" b="1" dirty="0">
            <a:latin typeface="Calibri" pitchFamily="34" charset="0"/>
            <a:cs typeface="Calibri" pitchFamily="34" charset="0"/>
          </a:endParaRPr>
        </a:p>
      </dgm:t>
    </dgm:pt>
    <dgm:pt modelId="{B209E01F-9B57-450D-B4A9-69E05CC61F5D}" type="parTrans" cxnId="{F5E10F1D-BEF7-4FF2-BC0F-E8E0F6C0105E}">
      <dgm:prSet/>
      <dgm:spPr/>
      <dgm:t>
        <a:bodyPr/>
        <a:lstStyle/>
        <a:p>
          <a:endParaRPr lang="es-ES"/>
        </a:p>
      </dgm:t>
    </dgm:pt>
    <dgm:pt modelId="{4430881E-5C95-416B-B1B8-2D10288F0CF3}" type="sibTrans" cxnId="{F5E10F1D-BEF7-4FF2-BC0F-E8E0F6C0105E}">
      <dgm:prSet/>
      <dgm:spPr/>
      <dgm:t>
        <a:bodyPr/>
        <a:lstStyle/>
        <a:p>
          <a:endParaRPr lang="es-ES"/>
        </a:p>
      </dgm:t>
    </dgm:pt>
    <dgm:pt modelId="{FD406E7A-E60E-4FCA-A237-DC0AD4BB7344}" type="pres">
      <dgm:prSet presAssocID="{FE38019B-8F8D-4730-9E22-71FC2475B43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s-ES"/>
        </a:p>
      </dgm:t>
    </dgm:pt>
    <dgm:pt modelId="{53E5E44B-68A6-4B67-8D33-138553ED92D8}" type="pres">
      <dgm:prSet presAssocID="{FE38019B-8F8D-4730-9E22-71FC2475B430}" presName="Name1" presStyleCnt="0"/>
      <dgm:spPr/>
      <dgm:t>
        <a:bodyPr/>
        <a:lstStyle/>
        <a:p>
          <a:endParaRPr lang="es-ES"/>
        </a:p>
      </dgm:t>
    </dgm:pt>
    <dgm:pt modelId="{944E030A-9C62-47D6-8BC5-F000508A1C1D}" type="pres">
      <dgm:prSet presAssocID="{FE38019B-8F8D-4730-9E22-71FC2475B430}" presName="cycle" presStyleCnt="0"/>
      <dgm:spPr/>
      <dgm:t>
        <a:bodyPr/>
        <a:lstStyle/>
        <a:p>
          <a:endParaRPr lang="es-ES"/>
        </a:p>
      </dgm:t>
    </dgm:pt>
    <dgm:pt modelId="{3F756508-CDC2-4776-9D0B-C9F1A3E31CA2}" type="pres">
      <dgm:prSet presAssocID="{FE38019B-8F8D-4730-9E22-71FC2475B430}" presName="srcNode" presStyleLbl="node1" presStyleIdx="0" presStyleCnt="4"/>
      <dgm:spPr/>
      <dgm:t>
        <a:bodyPr/>
        <a:lstStyle/>
        <a:p>
          <a:endParaRPr lang="es-ES"/>
        </a:p>
      </dgm:t>
    </dgm:pt>
    <dgm:pt modelId="{F97723AD-8BC4-4786-B7B1-D137A241F56D}" type="pres">
      <dgm:prSet presAssocID="{FE38019B-8F8D-4730-9E22-71FC2475B430}" presName="conn" presStyleLbl="parChTrans1D2" presStyleIdx="0" presStyleCnt="1"/>
      <dgm:spPr/>
      <dgm:t>
        <a:bodyPr/>
        <a:lstStyle/>
        <a:p>
          <a:endParaRPr lang="es-ES"/>
        </a:p>
      </dgm:t>
    </dgm:pt>
    <dgm:pt modelId="{FD205A3A-D1D8-4B1B-A7C1-99653206A0E0}" type="pres">
      <dgm:prSet presAssocID="{FE38019B-8F8D-4730-9E22-71FC2475B430}" presName="extraNode" presStyleLbl="node1" presStyleIdx="0" presStyleCnt="4"/>
      <dgm:spPr/>
      <dgm:t>
        <a:bodyPr/>
        <a:lstStyle/>
        <a:p>
          <a:endParaRPr lang="es-ES"/>
        </a:p>
      </dgm:t>
    </dgm:pt>
    <dgm:pt modelId="{E9EAD015-23E3-4CA0-B88F-7B2EAB0C4922}" type="pres">
      <dgm:prSet presAssocID="{FE38019B-8F8D-4730-9E22-71FC2475B430}" presName="dstNode" presStyleLbl="node1" presStyleIdx="0" presStyleCnt="4"/>
      <dgm:spPr/>
      <dgm:t>
        <a:bodyPr/>
        <a:lstStyle/>
        <a:p>
          <a:endParaRPr lang="es-ES"/>
        </a:p>
      </dgm:t>
    </dgm:pt>
    <dgm:pt modelId="{E82F956F-3C29-429E-8D84-457C4F2EE4EB}" type="pres">
      <dgm:prSet presAssocID="{468D27DE-FF7D-4B59-B575-85AAA905F3BC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A1AB58D-603C-49C1-88A6-85071BE5C479}" type="pres">
      <dgm:prSet presAssocID="{468D27DE-FF7D-4B59-B575-85AAA905F3BC}" presName="accent_1" presStyleCnt="0"/>
      <dgm:spPr/>
      <dgm:t>
        <a:bodyPr/>
        <a:lstStyle/>
        <a:p>
          <a:endParaRPr lang="es-ES"/>
        </a:p>
      </dgm:t>
    </dgm:pt>
    <dgm:pt modelId="{81117F07-03D0-4F23-B45C-2BFC20BE2D34}" type="pres">
      <dgm:prSet presAssocID="{468D27DE-FF7D-4B59-B575-85AAA905F3BC}" presName="accentRepeatNode" presStyleLbl="solidFgAcc1" presStyleIdx="0" presStyleCnt="4"/>
      <dgm:spPr/>
      <dgm:t>
        <a:bodyPr/>
        <a:lstStyle/>
        <a:p>
          <a:endParaRPr lang="es-ES"/>
        </a:p>
      </dgm:t>
    </dgm:pt>
    <dgm:pt modelId="{D82B834B-4B4D-4786-9D7E-59628801BAA5}" type="pres">
      <dgm:prSet presAssocID="{1EF5A9A3-BFE8-4F53-BEA2-7A1E9727AAF4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BE405982-F9DE-454B-AB52-FB3BEEA883F8}" type="pres">
      <dgm:prSet presAssocID="{1EF5A9A3-BFE8-4F53-BEA2-7A1E9727AAF4}" presName="accent_2" presStyleCnt="0"/>
      <dgm:spPr/>
    </dgm:pt>
    <dgm:pt modelId="{BD3D056E-4A34-4467-96EC-B61FA4D22EBE}" type="pres">
      <dgm:prSet presAssocID="{1EF5A9A3-BFE8-4F53-BEA2-7A1E9727AAF4}" presName="accentRepeatNode" presStyleLbl="solidFgAcc1" presStyleIdx="1" presStyleCnt="4"/>
      <dgm:spPr/>
    </dgm:pt>
    <dgm:pt modelId="{0272FEB9-592D-4333-99DB-8051B71CF1C6}" type="pres">
      <dgm:prSet presAssocID="{2EF45680-C8DE-47CF-9E10-BD3625A37404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4E54783-F292-423A-8F3C-6BFFF6AF968D}" type="pres">
      <dgm:prSet presAssocID="{2EF45680-C8DE-47CF-9E10-BD3625A37404}" presName="accent_3" presStyleCnt="0"/>
      <dgm:spPr/>
      <dgm:t>
        <a:bodyPr/>
        <a:lstStyle/>
        <a:p>
          <a:endParaRPr lang="es-ES"/>
        </a:p>
      </dgm:t>
    </dgm:pt>
    <dgm:pt modelId="{CA1A3EB5-8B6A-4273-BB29-963C1156F016}" type="pres">
      <dgm:prSet presAssocID="{2EF45680-C8DE-47CF-9E10-BD3625A37404}" presName="accentRepeatNode" presStyleLbl="solidFgAcc1" presStyleIdx="2" presStyleCnt="4"/>
      <dgm:spPr/>
      <dgm:t>
        <a:bodyPr/>
        <a:lstStyle/>
        <a:p>
          <a:endParaRPr lang="es-ES"/>
        </a:p>
      </dgm:t>
    </dgm:pt>
    <dgm:pt modelId="{0EF02168-086A-4B64-9B77-0C8F50800EC2}" type="pres">
      <dgm:prSet presAssocID="{39284B64-31ED-494C-8C0C-195440093469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C"/>
        </a:p>
      </dgm:t>
    </dgm:pt>
    <dgm:pt modelId="{8FC3A468-B7D4-417A-A77F-AB9B0B81C1FA}" type="pres">
      <dgm:prSet presAssocID="{39284B64-31ED-494C-8C0C-195440093469}" presName="accent_4" presStyleCnt="0"/>
      <dgm:spPr/>
    </dgm:pt>
    <dgm:pt modelId="{D9786D48-5F65-4EDF-B684-BBBBDABFF1BC}" type="pres">
      <dgm:prSet presAssocID="{39284B64-31ED-494C-8C0C-195440093469}" presName="accentRepeatNode" presStyleLbl="solidFgAcc1" presStyleIdx="3" presStyleCnt="4"/>
      <dgm:spPr/>
    </dgm:pt>
  </dgm:ptLst>
  <dgm:cxnLst>
    <dgm:cxn modelId="{77DE42C6-7B6B-4CAC-A989-5BA5F787A784}" type="presOf" srcId="{1EF5A9A3-BFE8-4F53-BEA2-7A1E9727AAF4}" destId="{D82B834B-4B4D-4786-9D7E-59628801BAA5}" srcOrd="0" destOrd="0" presId="urn:microsoft.com/office/officeart/2008/layout/VerticalCurvedList"/>
    <dgm:cxn modelId="{DC525715-D7A6-41C4-8F52-7888BB0FBF76}" type="presOf" srcId="{FE38019B-8F8D-4730-9E22-71FC2475B430}" destId="{FD406E7A-E60E-4FCA-A237-DC0AD4BB7344}" srcOrd="0" destOrd="0" presId="urn:microsoft.com/office/officeart/2008/layout/VerticalCurvedList"/>
    <dgm:cxn modelId="{0EF7DDB0-8E01-47C6-8450-FD1099A76304}" type="presOf" srcId="{DB76B950-D9A2-4FF6-8E40-AEA36079B50D}" destId="{F97723AD-8BC4-4786-B7B1-D137A241F56D}" srcOrd="0" destOrd="0" presId="urn:microsoft.com/office/officeart/2008/layout/VerticalCurvedList"/>
    <dgm:cxn modelId="{F5E10F1D-BEF7-4FF2-BC0F-E8E0F6C0105E}" srcId="{FE38019B-8F8D-4730-9E22-71FC2475B430}" destId="{39284B64-31ED-494C-8C0C-195440093469}" srcOrd="3" destOrd="0" parTransId="{B209E01F-9B57-450D-B4A9-69E05CC61F5D}" sibTransId="{4430881E-5C95-416B-B1B8-2D10288F0CF3}"/>
    <dgm:cxn modelId="{6C79BBA8-FD2E-4208-B397-87FBE2DFB529}" type="presOf" srcId="{39284B64-31ED-494C-8C0C-195440093469}" destId="{0EF02168-086A-4B64-9B77-0C8F50800EC2}" srcOrd="0" destOrd="0" presId="urn:microsoft.com/office/officeart/2008/layout/VerticalCurvedList"/>
    <dgm:cxn modelId="{CCF615BE-01DA-4871-9CBA-BFC973D9C4D8}" type="presOf" srcId="{468D27DE-FF7D-4B59-B575-85AAA905F3BC}" destId="{E82F956F-3C29-429E-8D84-457C4F2EE4EB}" srcOrd="0" destOrd="0" presId="urn:microsoft.com/office/officeart/2008/layout/VerticalCurvedList"/>
    <dgm:cxn modelId="{0FAF55AC-0ABA-4190-BE70-3FEA5882D951}" srcId="{FE38019B-8F8D-4730-9E22-71FC2475B430}" destId="{1EF5A9A3-BFE8-4F53-BEA2-7A1E9727AAF4}" srcOrd="1" destOrd="0" parTransId="{866A6234-AE13-4B12-AC8C-8641A177B639}" sibTransId="{12801325-5C0E-469C-B361-5FCAFDA38381}"/>
    <dgm:cxn modelId="{D4D04AB5-50DF-4C7B-B983-91390F263F09}" type="presOf" srcId="{2EF45680-C8DE-47CF-9E10-BD3625A37404}" destId="{0272FEB9-592D-4333-99DB-8051B71CF1C6}" srcOrd="0" destOrd="0" presId="urn:microsoft.com/office/officeart/2008/layout/VerticalCurvedList"/>
    <dgm:cxn modelId="{641A4080-CD2E-4963-B101-AA68864728DB}" srcId="{FE38019B-8F8D-4730-9E22-71FC2475B430}" destId="{468D27DE-FF7D-4B59-B575-85AAA905F3BC}" srcOrd="0" destOrd="0" parTransId="{66807AAF-0C39-44D3-9C54-D806D2C13BC0}" sibTransId="{DB76B950-D9A2-4FF6-8E40-AEA36079B50D}"/>
    <dgm:cxn modelId="{46120920-7EE1-4140-9D35-B08469B848A8}" srcId="{FE38019B-8F8D-4730-9E22-71FC2475B430}" destId="{2EF45680-C8DE-47CF-9E10-BD3625A37404}" srcOrd="2" destOrd="0" parTransId="{B5641F44-FB98-4FD9-AC01-5CB3A983D89A}" sibTransId="{8BCE01E5-F3F0-4A83-8955-6FA7716F8977}"/>
    <dgm:cxn modelId="{9B050BCB-5ECF-437D-A297-F680882BACB3}" type="presParOf" srcId="{FD406E7A-E60E-4FCA-A237-DC0AD4BB7344}" destId="{53E5E44B-68A6-4B67-8D33-138553ED92D8}" srcOrd="0" destOrd="0" presId="urn:microsoft.com/office/officeart/2008/layout/VerticalCurvedList"/>
    <dgm:cxn modelId="{4F754328-B608-4869-8553-C5CF24E2107C}" type="presParOf" srcId="{53E5E44B-68A6-4B67-8D33-138553ED92D8}" destId="{944E030A-9C62-47D6-8BC5-F000508A1C1D}" srcOrd="0" destOrd="0" presId="urn:microsoft.com/office/officeart/2008/layout/VerticalCurvedList"/>
    <dgm:cxn modelId="{8ABDB599-53CF-427D-9604-86C33FF45EE4}" type="presParOf" srcId="{944E030A-9C62-47D6-8BC5-F000508A1C1D}" destId="{3F756508-CDC2-4776-9D0B-C9F1A3E31CA2}" srcOrd="0" destOrd="0" presId="urn:microsoft.com/office/officeart/2008/layout/VerticalCurvedList"/>
    <dgm:cxn modelId="{4AB40582-91CF-43A5-9057-0E920C0CF2B5}" type="presParOf" srcId="{944E030A-9C62-47D6-8BC5-F000508A1C1D}" destId="{F97723AD-8BC4-4786-B7B1-D137A241F56D}" srcOrd="1" destOrd="0" presId="urn:microsoft.com/office/officeart/2008/layout/VerticalCurvedList"/>
    <dgm:cxn modelId="{E0E8C997-551A-44E0-8B46-D142C70136D8}" type="presParOf" srcId="{944E030A-9C62-47D6-8BC5-F000508A1C1D}" destId="{FD205A3A-D1D8-4B1B-A7C1-99653206A0E0}" srcOrd="2" destOrd="0" presId="urn:microsoft.com/office/officeart/2008/layout/VerticalCurvedList"/>
    <dgm:cxn modelId="{CFD1C6B4-A1F0-46E7-99F6-65C82ECE03CF}" type="presParOf" srcId="{944E030A-9C62-47D6-8BC5-F000508A1C1D}" destId="{E9EAD015-23E3-4CA0-B88F-7B2EAB0C4922}" srcOrd="3" destOrd="0" presId="urn:microsoft.com/office/officeart/2008/layout/VerticalCurvedList"/>
    <dgm:cxn modelId="{EE997206-09C1-44E4-891E-217418CF6FBC}" type="presParOf" srcId="{53E5E44B-68A6-4B67-8D33-138553ED92D8}" destId="{E82F956F-3C29-429E-8D84-457C4F2EE4EB}" srcOrd="1" destOrd="0" presId="urn:microsoft.com/office/officeart/2008/layout/VerticalCurvedList"/>
    <dgm:cxn modelId="{28989D76-8118-4EC5-A7FB-23F2E95AEF5F}" type="presParOf" srcId="{53E5E44B-68A6-4B67-8D33-138553ED92D8}" destId="{EA1AB58D-603C-49C1-88A6-85071BE5C479}" srcOrd="2" destOrd="0" presId="urn:microsoft.com/office/officeart/2008/layout/VerticalCurvedList"/>
    <dgm:cxn modelId="{63B6D0F9-CE90-40A6-A629-455C0D9A8AC5}" type="presParOf" srcId="{EA1AB58D-603C-49C1-88A6-85071BE5C479}" destId="{81117F07-03D0-4F23-B45C-2BFC20BE2D34}" srcOrd="0" destOrd="0" presId="urn:microsoft.com/office/officeart/2008/layout/VerticalCurvedList"/>
    <dgm:cxn modelId="{D571D4A9-ECE1-4612-AD04-275C7592DB7A}" type="presParOf" srcId="{53E5E44B-68A6-4B67-8D33-138553ED92D8}" destId="{D82B834B-4B4D-4786-9D7E-59628801BAA5}" srcOrd="3" destOrd="0" presId="urn:microsoft.com/office/officeart/2008/layout/VerticalCurvedList"/>
    <dgm:cxn modelId="{E14D07E0-D9AF-4D9A-8FFE-43047FE24D79}" type="presParOf" srcId="{53E5E44B-68A6-4B67-8D33-138553ED92D8}" destId="{BE405982-F9DE-454B-AB52-FB3BEEA883F8}" srcOrd="4" destOrd="0" presId="urn:microsoft.com/office/officeart/2008/layout/VerticalCurvedList"/>
    <dgm:cxn modelId="{4CE333BB-C4FC-49BF-9438-9F2D54C1CEA6}" type="presParOf" srcId="{BE405982-F9DE-454B-AB52-FB3BEEA883F8}" destId="{BD3D056E-4A34-4467-96EC-B61FA4D22EBE}" srcOrd="0" destOrd="0" presId="urn:microsoft.com/office/officeart/2008/layout/VerticalCurvedList"/>
    <dgm:cxn modelId="{18D11DA2-033F-42E9-AC56-8F41AAAA59DB}" type="presParOf" srcId="{53E5E44B-68A6-4B67-8D33-138553ED92D8}" destId="{0272FEB9-592D-4333-99DB-8051B71CF1C6}" srcOrd="5" destOrd="0" presId="urn:microsoft.com/office/officeart/2008/layout/VerticalCurvedList"/>
    <dgm:cxn modelId="{393A40F3-B82C-4F8C-B958-1BEF668B9464}" type="presParOf" srcId="{53E5E44B-68A6-4B67-8D33-138553ED92D8}" destId="{24E54783-F292-423A-8F3C-6BFFF6AF968D}" srcOrd="6" destOrd="0" presId="urn:microsoft.com/office/officeart/2008/layout/VerticalCurvedList"/>
    <dgm:cxn modelId="{3756C6A8-80B9-4D0F-9324-585FAE981937}" type="presParOf" srcId="{24E54783-F292-423A-8F3C-6BFFF6AF968D}" destId="{CA1A3EB5-8B6A-4273-BB29-963C1156F016}" srcOrd="0" destOrd="0" presId="urn:microsoft.com/office/officeart/2008/layout/VerticalCurvedList"/>
    <dgm:cxn modelId="{503FD12F-E576-4BFA-A961-181F878A4A18}" type="presParOf" srcId="{53E5E44B-68A6-4B67-8D33-138553ED92D8}" destId="{0EF02168-086A-4B64-9B77-0C8F50800EC2}" srcOrd="7" destOrd="0" presId="urn:microsoft.com/office/officeart/2008/layout/VerticalCurvedList"/>
    <dgm:cxn modelId="{B128E76E-C2E8-48C0-95A0-1BF9BD815FD3}" type="presParOf" srcId="{53E5E44B-68A6-4B67-8D33-138553ED92D8}" destId="{8FC3A468-B7D4-417A-A77F-AB9B0B81C1FA}" srcOrd="8" destOrd="0" presId="urn:microsoft.com/office/officeart/2008/layout/VerticalCurvedList"/>
    <dgm:cxn modelId="{9CFA76D0-5D92-44CC-ABF3-3AA515834828}" type="presParOf" srcId="{8FC3A468-B7D4-417A-A77F-AB9B0B81C1FA}" destId="{D9786D48-5F65-4EDF-B684-BBBBDABFF1BC}" srcOrd="0" destOrd="0" presId="urn:microsoft.com/office/officeart/2008/layout/VerticalCurvedList"/>
  </dgm:cxnLst>
  <dgm:bg>
    <a:effectLst>
      <a:glow rad="101600">
        <a:schemeClr val="accent4">
          <a:satMod val="175000"/>
          <a:alpha val="40000"/>
        </a:schemeClr>
      </a:glow>
    </a:effectLst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FE38019B-8F8D-4730-9E22-71FC2475B430}" type="doc">
      <dgm:prSet loTypeId="urn:microsoft.com/office/officeart/2005/8/layout/vList2" loCatId="list" qsTypeId="urn:microsoft.com/office/officeart/2005/8/quickstyle/simple5" qsCatId="simple" csTypeId="urn:microsoft.com/office/officeart/2005/8/colors/accent1_5" csCatId="accent1" phldr="1"/>
      <dgm:spPr/>
      <dgm:t>
        <a:bodyPr/>
        <a:lstStyle/>
        <a:p>
          <a:endParaRPr lang="es-ES"/>
        </a:p>
      </dgm:t>
    </dgm:pt>
    <dgm:pt modelId="{468D27DE-FF7D-4B59-B575-85AAA905F3BC}">
      <dgm:prSet phldrT="[Texto]" custT="1"/>
      <dgm:spPr/>
      <dgm:t>
        <a:bodyPr/>
        <a:lstStyle/>
        <a:p>
          <a:pPr algn="l"/>
          <a:r>
            <a:rPr lang="es-EC" sz="2000" b="1" dirty="0" smtClean="0">
              <a:latin typeface="Calibri" pitchFamily="34" charset="0"/>
              <a:cs typeface="Calibri" pitchFamily="34" charset="0"/>
            </a:rPr>
            <a:t>[</a:t>
          </a:r>
          <a:r>
            <a:rPr lang="es-EC" sz="2000" b="1" dirty="0" err="1" smtClean="0">
              <a:latin typeface="Calibri" pitchFamily="34" charset="0"/>
              <a:cs typeface="Calibri" pitchFamily="34" charset="0"/>
            </a:rPr>
            <a:t>I.5</a:t>
          </a:r>
          <a:r>
            <a:rPr lang="es-EC" sz="2000" b="1" dirty="0" smtClean="0">
              <a:latin typeface="Calibri" pitchFamily="34" charset="0"/>
              <a:cs typeface="Calibri" pitchFamily="34" charset="0"/>
            </a:rPr>
            <a:t>] </a:t>
          </a:r>
          <a:r>
            <a:rPr lang="es-EC" sz="2000" dirty="0" smtClean="0">
              <a:latin typeface="Calibri" pitchFamily="34" charset="0"/>
              <a:cs typeface="Calibri" pitchFamily="34" charset="0"/>
            </a:rPr>
            <a:t>Corte del suministro eléctrico.</a:t>
          </a:r>
          <a:endParaRPr lang="es-ES" sz="2000" b="1" dirty="0">
            <a:latin typeface="Calibri" pitchFamily="34" charset="0"/>
            <a:cs typeface="Calibri" pitchFamily="34" charset="0"/>
          </a:endParaRPr>
        </a:p>
      </dgm:t>
    </dgm:pt>
    <dgm:pt modelId="{66807AAF-0C39-44D3-9C54-D806D2C13BC0}" type="parTrans" cxnId="{641A4080-CD2E-4963-B101-AA68864728DB}">
      <dgm:prSet/>
      <dgm:spPr/>
      <dgm:t>
        <a:bodyPr/>
        <a:lstStyle/>
        <a:p>
          <a:pPr algn="ctr"/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DB76B950-D9A2-4FF6-8E40-AEA36079B50D}" type="sibTrans" cxnId="{641A4080-CD2E-4963-B101-AA68864728DB}">
      <dgm:prSet/>
      <dgm:spPr/>
      <dgm:t>
        <a:bodyPr/>
        <a:lstStyle/>
        <a:p>
          <a:pPr algn="ctr"/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28D2910F-65C8-4FA3-904C-1A455A09C5F9}">
      <dgm:prSet custT="1"/>
      <dgm:spPr/>
      <dgm:t>
        <a:bodyPr/>
        <a:lstStyle/>
        <a:p>
          <a:pPr algn="l"/>
          <a:r>
            <a:rPr lang="es-EC" sz="2000" b="1" dirty="0" smtClean="0">
              <a:latin typeface="Calibri" pitchFamily="34" charset="0"/>
              <a:cs typeface="Calibri" pitchFamily="34" charset="0"/>
            </a:rPr>
            <a:t>[</a:t>
          </a:r>
          <a:r>
            <a:rPr lang="es-EC" sz="2000" b="1" dirty="0" err="1" smtClean="0">
              <a:latin typeface="Calibri" pitchFamily="34" charset="0"/>
              <a:cs typeface="Calibri" pitchFamily="34" charset="0"/>
            </a:rPr>
            <a:t>I.3</a:t>
          </a:r>
          <a:r>
            <a:rPr lang="es-EC" sz="2000" b="1" dirty="0" smtClean="0">
              <a:latin typeface="Calibri" pitchFamily="34" charset="0"/>
              <a:cs typeface="Calibri" pitchFamily="34" charset="0"/>
            </a:rPr>
            <a:t>] </a:t>
          </a:r>
          <a:r>
            <a:rPr lang="es-EC" sz="2000" dirty="0" smtClean="0">
              <a:latin typeface="Calibri" pitchFamily="34" charset="0"/>
              <a:cs typeface="Calibri" pitchFamily="34" charset="0"/>
            </a:rPr>
            <a:t>Contaminación mecánica.</a:t>
          </a:r>
          <a:endParaRPr lang="es-ES" sz="2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itchFamily="34" charset="0"/>
            <a:cs typeface="Calibri" pitchFamily="34" charset="0"/>
          </a:endParaRPr>
        </a:p>
      </dgm:t>
    </dgm:pt>
    <dgm:pt modelId="{9A7A520B-259A-4638-9DC8-944829944EA7}" type="parTrans" cxnId="{C425569C-3837-4B90-B066-5CABED5737E8}">
      <dgm:prSet/>
      <dgm:spPr/>
      <dgm:t>
        <a:bodyPr/>
        <a:lstStyle/>
        <a:p>
          <a:pPr algn="ctr"/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9E96A37D-5AFF-4695-9DEE-02475F27F502}" type="sibTrans" cxnId="{C425569C-3837-4B90-B066-5CABED5737E8}">
      <dgm:prSet/>
      <dgm:spPr/>
      <dgm:t>
        <a:bodyPr/>
        <a:lstStyle/>
        <a:p>
          <a:pPr algn="ctr"/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2EF45680-C8DE-47CF-9E10-BD3625A37404}">
      <dgm:prSet custT="1"/>
      <dgm:spPr/>
      <dgm:t>
        <a:bodyPr/>
        <a:lstStyle/>
        <a:p>
          <a:pPr algn="l"/>
          <a:r>
            <a:rPr lang="es-EC" sz="2000" b="1" dirty="0" smtClean="0">
              <a:latin typeface="Calibri" pitchFamily="34" charset="0"/>
              <a:cs typeface="Calibri" pitchFamily="34" charset="0"/>
            </a:rPr>
            <a:t>[</a:t>
          </a:r>
          <a:r>
            <a:rPr lang="es-EC" sz="2000" b="1" dirty="0" err="1" smtClean="0">
              <a:latin typeface="Calibri" pitchFamily="34" charset="0"/>
              <a:cs typeface="Calibri" pitchFamily="34" charset="0"/>
            </a:rPr>
            <a:t>A.16</a:t>
          </a:r>
          <a:r>
            <a:rPr lang="es-EC" sz="2000" b="1" dirty="0" smtClean="0">
              <a:latin typeface="Calibri" pitchFamily="34" charset="0"/>
              <a:cs typeface="Calibri" pitchFamily="34" charset="0"/>
            </a:rPr>
            <a:t>] </a:t>
          </a:r>
          <a:r>
            <a:rPr lang="es-EC" sz="2000" dirty="0" smtClean="0">
              <a:latin typeface="Calibri" pitchFamily="34" charset="0"/>
              <a:cs typeface="Calibri" pitchFamily="34" charset="0"/>
            </a:rPr>
            <a:t>Robo</a:t>
          </a:r>
          <a:endParaRPr lang="es-ES" sz="2000" dirty="0"/>
        </a:p>
      </dgm:t>
    </dgm:pt>
    <dgm:pt modelId="{B5641F44-FB98-4FD9-AC01-5CB3A983D89A}" type="parTrans" cxnId="{46120920-7EE1-4140-9D35-B08469B848A8}">
      <dgm:prSet/>
      <dgm:spPr/>
      <dgm:t>
        <a:bodyPr/>
        <a:lstStyle/>
        <a:p>
          <a:pPr algn="ctr"/>
          <a:endParaRPr lang="es-ES" sz="2000"/>
        </a:p>
      </dgm:t>
    </dgm:pt>
    <dgm:pt modelId="{8BCE01E5-F3F0-4A83-8955-6FA7716F8977}" type="sibTrans" cxnId="{46120920-7EE1-4140-9D35-B08469B848A8}">
      <dgm:prSet/>
      <dgm:spPr/>
      <dgm:t>
        <a:bodyPr/>
        <a:lstStyle/>
        <a:p>
          <a:pPr algn="ctr"/>
          <a:endParaRPr lang="es-ES" sz="2000"/>
        </a:p>
      </dgm:t>
    </dgm:pt>
    <dgm:pt modelId="{983201D1-FE1B-4E68-92F6-DE539F857D4E}">
      <dgm:prSet custT="1"/>
      <dgm:spPr/>
      <dgm:t>
        <a:bodyPr/>
        <a:lstStyle/>
        <a:p>
          <a:pPr algn="l"/>
          <a:r>
            <a:rPr lang="es-EC" sz="2000" b="1" dirty="0" smtClean="0">
              <a:latin typeface="Calibri" pitchFamily="34" charset="0"/>
              <a:cs typeface="Calibri" pitchFamily="34" charset="0"/>
            </a:rPr>
            <a:t>[N.2] </a:t>
          </a:r>
          <a:r>
            <a:rPr lang="es-EC" sz="2000" dirty="0" smtClean="0">
              <a:latin typeface="Calibri" pitchFamily="34" charset="0"/>
              <a:cs typeface="Calibri" pitchFamily="34" charset="0"/>
            </a:rPr>
            <a:t>Inundaciones</a:t>
          </a:r>
          <a:endParaRPr lang="es-ES" sz="2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itchFamily="34" charset="0"/>
            <a:cs typeface="Calibri" pitchFamily="34" charset="0"/>
          </a:endParaRPr>
        </a:p>
      </dgm:t>
    </dgm:pt>
    <dgm:pt modelId="{19E8587F-4E52-427F-AE59-F763CC13BBF1}" type="parTrans" cxnId="{363D9B11-D3B1-4911-9489-39B2D38F7639}">
      <dgm:prSet/>
      <dgm:spPr/>
      <dgm:t>
        <a:bodyPr/>
        <a:lstStyle/>
        <a:p>
          <a:endParaRPr lang="es-ES"/>
        </a:p>
      </dgm:t>
    </dgm:pt>
    <dgm:pt modelId="{CC3FC2A5-00E7-40E7-B689-F70A660682CD}" type="sibTrans" cxnId="{363D9B11-D3B1-4911-9489-39B2D38F7639}">
      <dgm:prSet/>
      <dgm:spPr/>
      <dgm:t>
        <a:bodyPr/>
        <a:lstStyle/>
        <a:p>
          <a:endParaRPr lang="es-ES"/>
        </a:p>
      </dgm:t>
    </dgm:pt>
    <dgm:pt modelId="{D5DAB5F9-E0B4-4387-A421-9584705DE6AD}" type="pres">
      <dgm:prSet presAssocID="{FE38019B-8F8D-4730-9E22-71FC2475B43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B0C54CF3-DD2F-43D8-A6CC-C724B033468E}" type="pres">
      <dgm:prSet presAssocID="{28D2910F-65C8-4FA3-904C-1A455A09C5F9}" presName="parentText" presStyleLbl="node1" presStyleIdx="0" presStyleCnt="4" custLinFactY="540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36E3080-AF37-46E9-A18B-D6D0EC4EBBC6}" type="pres">
      <dgm:prSet presAssocID="{9E96A37D-5AFF-4695-9DEE-02475F27F502}" presName="spacer" presStyleCnt="0"/>
      <dgm:spPr/>
      <dgm:t>
        <a:bodyPr/>
        <a:lstStyle/>
        <a:p>
          <a:endParaRPr lang="es-ES"/>
        </a:p>
      </dgm:t>
    </dgm:pt>
    <dgm:pt modelId="{A19123A7-4C67-4E9E-B002-C6147010BF7C}" type="pres">
      <dgm:prSet presAssocID="{983201D1-FE1B-4E68-92F6-DE539F857D4E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4A0C84B-8E74-437A-B5D2-BDE78B116EB3}" type="pres">
      <dgm:prSet presAssocID="{CC3FC2A5-00E7-40E7-B689-F70A660682CD}" presName="spacer" presStyleCnt="0"/>
      <dgm:spPr/>
      <dgm:t>
        <a:bodyPr/>
        <a:lstStyle/>
        <a:p>
          <a:endParaRPr lang="es-ES"/>
        </a:p>
      </dgm:t>
    </dgm:pt>
    <dgm:pt modelId="{E4B32442-E48A-4D5D-934D-0475720431AD}" type="pres">
      <dgm:prSet presAssocID="{468D27DE-FF7D-4B59-B575-85AAA905F3BC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75FD223-4735-4F60-80E0-A959B5148327}" type="pres">
      <dgm:prSet presAssocID="{DB76B950-D9A2-4FF6-8E40-AEA36079B50D}" presName="spacer" presStyleCnt="0"/>
      <dgm:spPr/>
      <dgm:t>
        <a:bodyPr/>
        <a:lstStyle/>
        <a:p>
          <a:endParaRPr lang="es-ES"/>
        </a:p>
      </dgm:t>
    </dgm:pt>
    <dgm:pt modelId="{EB602181-EA3D-406D-84C8-30B704F11BEE}" type="pres">
      <dgm:prSet presAssocID="{2EF45680-C8DE-47CF-9E10-BD3625A37404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5E691D89-D3D8-4F79-B694-98D858129EEC}" type="presOf" srcId="{FE38019B-8F8D-4730-9E22-71FC2475B430}" destId="{D5DAB5F9-E0B4-4387-A421-9584705DE6AD}" srcOrd="0" destOrd="0" presId="urn:microsoft.com/office/officeart/2005/8/layout/vList2"/>
    <dgm:cxn modelId="{F534B5BE-AC30-4CC1-B9A8-EE5A5CB3E3D1}" type="presOf" srcId="{2EF45680-C8DE-47CF-9E10-BD3625A37404}" destId="{EB602181-EA3D-406D-84C8-30B704F11BEE}" srcOrd="0" destOrd="0" presId="urn:microsoft.com/office/officeart/2005/8/layout/vList2"/>
    <dgm:cxn modelId="{46120920-7EE1-4140-9D35-B08469B848A8}" srcId="{FE38019B-8F8D-4730-9E22-71FC2475B430}" destId="{2EF45680-C8DE-47CF-9E10-BD3625A37404}" srcOrd="3" destOrd="0" parTransId="{B5641F44-FB98-4FD9-AC01-5CB3A983D89A}" sibTransId="{8BCE01E5-F3F0-4A83-8955-6FA7716F8977}"/>
    <dgm:cxn modelId="{2910E726-29C4-48E1-92C1-AEA17471B317}" type="presOf" srcId="{983201D1-FE1B-4E68-92F6-DE539F857D4E}" destId="{A19123A7-4C67-4E9E-B002-C6147010BF7C}" srcOrd="0" destOrd="0" presId="urn:microsoft.com/office/officeart/2005/8/layout/vList2"/>
    <dgm:cxn modelId="{C425569C-3837-4B90-B066-5CABED5737E8}" srcId="{FE38019B-8F8D-4730-9E22-71FC2475B430}" destId="{28D2910F-65C8-4FA3-904C-1A455A09C5F9}" srcOrd="0" destOrd="0" parTransId="{9A7A520B-259A-4638-9DC8-944829944EA7}" sibTransId="{9E96A37D-5AFF-4695-9DEE-02475F27F502}"/>
    <dgm:cxn modelId="{A7D9D439-97CA-4193-8671-6710FD91302A}" type="presOf" srcId="{28D2910F-65C8-4FA3-904C-1A455A09C5F9}" destId="{B0C54CF3-DD2F-43D8-A6CC-C724B033468E}" srcOrd="0" destOrd="0" presId="urn:microsoft.com/office/officeart/2005/8/layout/vList2"/>
    <dgm:cxn modelId="{363D9B11-D3B1-4911-9489-39B2D38F7639}" srcId="{FE38019B-8F8D-4730-9E22-71FC2475B430}" destId="{983201D1-FE1B-4E68-92F6-DE539F857D4E}" srcOrd="1" destOrd="0" parTransId="{19E8587F-4E52-427F-AE59-F763CC13BBF1}" sibTransId="{CC3FC2A5-00E7-40E7-B689-F70A660682CD}"/>
    <dgm:cxn modelId="{641A4080-CD2E-4963-B101-AA68864728DB}" srcId="{FE38019B-8F8D-4730-9E22-71FC2475B430}" destId="{468D27DE-FF7D-4B59-B575-85AAA905F3BC}" srcOrd="2" destOrd="0" parTransId="{66807AAF-0C39-44D3-9C54-D806D2C13BC0}" sibTransId="{DB76B950-D9A2-4FF6-8E40-AEA36079B50D}"/>
    <dgm:cxn modelId="{B5569585-E77A-459B-B986-09B6E46C1080}" type="presOf" srcId="{468D27DE-FF7D-4B59-B575-85AAA905F3BC}" destId="{E4B32442-E48A-4D5D-934D-0475720431AD}" srcOrd="0" destOrd="0" presId="urn:microsoft.com/office/officeart/2005/8/layout/vList2"/>
    <dgm:cxn modelId="{90FD66CB-A26C-4A69-A333-9B0395871770}" type="presParOf" srcId="{D5DAB5F9-E0B4-4387-A421-9584705DE6AD}" destId="{B0C54CF3-DD2F-43D8-A6CC-C724B033468E}" srcOrd="0" destOrd="0" presId="urn:microsoft.com/office/officeart/2005/8/layout/vList2"/>
    <dgm:cxn modelId="{FAD08FF5-A8E2-4C74-B937-06B754E77131}" type="presParOf" srcId="{D5DAB5F9-E0B4-4387-A421-9584705DE6AD}" destId="{536E3080-AF37-46E9-A18B-D6D0EC4EBBC6}" srcOrd="1" destOrd="0" presId="urn:microsoft.com/office/officeart/2005/8/layout/vList2"/>
    <dgm:cxn modelId="{3D258D62-6786-4F2A-85D5-D46D3B9AE508}" type="presParOf" srcId="{D5DAB5F9-E0B4-4387-A421-9584705DE6AD}" destId="{A19123A7-4C67-4E9E-B002-C6147010BF7C}" srcOrd="2" destOrd="0" presId="urn:microsoft.com/office/officeart/2005/8/layout/vList2"/>
    <dgm:cxn modelId="{7CA6D736-BDD8-44BD-936D-50FBD8C8E52C}" type="presParOf" srcId="{D5DAB5F9-E0B4-4387-A421-9584705DE6AD}" destId="{F4A0C84B-8E74-437A-B5D2-BDE78B116EB3}" srcOrd="3" destOrd="0" presId="urn:microsoft.com/office/officeart/2005/8/layout/vList2"/>
    <dgm:cxn modelId="{556D281C-3D7C-4607-968A-E6DA76211A01}" type="presParOf" srcId="{D5DAB5F9-E0B4-4387-A421-9584705DE6AD}" destId="{E4B32442-E48A-4D5D-934D-0475720431AD}" srcOrd="4" destOrd="0" presId="urn:microsoft.com/office/officeart/2005/8/layout/vList2"/>
    <dgm:cxn modelId="{B633C1D2-5B23-4A93-A221-8B7B20A51044}" type="presParOf" srcId="{D5DAB5F9-E0B4-4387-A421-9584705DE6AD}" destId="{075FD223-4735-4F60-80E0-A959B5148327}" srcOrd="5" destOrd="0" presId="urn:microsoft.com/office/officeart/2005/8/layout/vList2"/>
    <dgm:cxn modelId="{0F2CEBC0-84D4-4F97-8DF2-C640B15D7613}" type="presParOf" srcId="{D5DAB5F9-E0B4-4387-A421-9584705DE6AD}" destId="{EB602181-EA3D-406D-84C8-30B704F11BEE}" srcOrd="6" destOrd="0" presId="urn:microsoft.com/office/officeart/2005/8/layout/vList2"/>
  </dgm:cxnLst>
  <dgm:bg>
    <a:effectLst>
      <a:glow rad="101600">
        <a:schemeClr val="accent4">
          <a:satMod val="175000"/>
          <a:alpha val="40000"/>
        </a:schemeClr>
      </a:glow>
    </a:effectLst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FE38019B-8F8D-4730-9E22-71FC2475B430}" type="doc">
      <dgm:prSet loTypeId="urn:microsoft.com/office/officeart/2005/8/layout/vList2" loCatId="list" qsTypeId="urn:microsoft.com/office/officeart/2005/8/quickstyle/simple5" qsCatId="simple" csTypeId="urn:microsoft.com/office/officeart/2005/8/colors/accent2_2" csCatId="accent2" phldr="1"/>
      <dgm:spPr/>
      <dgm:t>
        <a:bodyPr/>
        <a:lstStyle/>
        <a:p>
          <a:endParaRPr lang="es-ES"/>
        </a:p>
      </dgm:t>
    </dgm:pt>
    <dgm:pt modelId="{468D27DE-FF7D-4B59-B575-85AAA905F3BC}">
      <dgm:prSet phldrT="[Texto]" custT="1"/>
      <dgm:spPr/>
      <dgm:t>
        <a:bodyPr/>
        <a:lstStyle/>
        <a:p>
          <a:pPr algn="ctr"/>
          <a:r>
            <a:rPr lang="es-EC" sz="20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Reducir</a:t>
          </a:r>
          <a:endParaRPr lang="es-ES" sz="2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itchFamily="34" charset="0"/>
            <a:cs typeface="Calibri" pitchFamily="34" charset="0"/>
          </a:endParaRPr>
        </a:p>
      </dgm:t>
    </dgm:pt>
    <dgm:pt modelId="{66807AAF-0C39-44D3-9C54-D806D2C13BC0}" type="parTrans" cxnId="{641A4080-CD2E-4963-B101-AA68864728DB}">
      <dgm:prSet/>
      <dgm:spPr/>
      <dgm:t>
        <a:bodyPr/>
        <a:lstStyle/>
        <a:p>
          <a:pPr algn="ctr"/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DB76B950-D9A2-4FF6-8E40-AEA36079B50D}" type="sibTrans" cxnId="{641A4080-CD2E-4963-B101-AA68864728DB}">
      <dgm:prSet/>
      <dgm:spPr/>
      <dgm:t>
        <a:bodyPr/>
        <a:lstStyle/>
        <a:p>
          <a:pPr algn="ctr"/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28D2910F-65C8-4FA3-904C-1A455A09C5F9}">
      <dgm:prSet custT="1"/>
      <dgm:spPr/>
      <dgm:t>
        <a:bodyPr/>
        <a:lstStyle/>
        <a:p>
          <a:pPr algn="ctr"/>
          <a:r>
            <a:rPr lang="es-EC" sz="20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Reducir</a:t>
          </a:r>
          <a:endParaRPr lang="es-ES" sz="2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itchFamily="34" charset="0"/>
            <a:cs typeface="Calibri" pitchFamily="34" charset="0"/>
          </a:endParaRPr>
        </a:p>
      </dgm:t>
    </dgm:pt>
    <dgm:pt modelId="{9A7A520B-259A-4638-9DC8-944829944EA7}" type="parTrans" cxnId="{C425569C-3837-4B90-B066-5CABED5737E8}">
      <dgm:prSet/>
      <dgm:spPr/>
      <dgm:t>
        <a:bodyPr/>
        <a:lstStyle/>
        <a:p>
          <a:pPr algn="ctr"/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9E96A37D-5AFF-4695-9DEE-02475F27F502}" type="sibTrans" cxnId="{C425569C-3837-4B90-B066-5CABED5737E8}">
      <dgm:prSet/>
      <dgm:spPr/>
      <dgm:t>
        <a:bodyPr/>
        <a:lstStyle/>
        <a:p>
          <a:pPr algn="ctr"/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2EF45680-C8DE-47CF-9E10-BD3625A37404}">
      <dgm:prSet custT="1"/>
      <dgm:spPr/>
      <dgm:t>
        <a:bodyPr/>
        <a:lstStyle/>
        <a:p>
          <a:pPr algn="ctr"/>
          <a:r>
            <a:rPr lang="es-EC" sz="20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Transferir</a:t>
          </a:r>
          <a:endParaRPr lang="es-ES" sz="2000" dirty="0"/>
        </a:p>
      </dgm:t>
    </dgm:pt>
    <dgm:pt modelId="{B5641F44-FB98-4FD9-AC01-5CB3A983D89A}" type="parTrans" cxnId="{46120920-7EE1-4140-9D35-B08469B848A8}">
      <dgm:prSet/>
      <dgm:spPr/>
      <dgm:t>
        <a:bodyPr/>
        <a:lstStyle/>
        <a:p>
          <a:pPr algn="ctr"/>
          <a:endParaRPr lang="es-ES" sz="2000"/>
        </a:p>
      </dgm:t>
    </dgm:pt>
    <dgm:pt modelId="{8BCE01E5-F3F0-4A83-8955-6FA7716F8977}" type="sibTrans" cxnId="{46120920-7EE1-4140-9D35-B08469B848A8}">
      <dgm:prSet/>
      <dgm:spPr/>
      <dgm:t>
        <a:bodyPr/>
        <a:lstStyle/>
        <a:p>
          <a:pPr algn="ctr"/>
          <a:endParaRPr lang="es-ES" sz="2000"/>
        </a:p>
      </dgm:t>
    </dgm:pt>
    <dgm:pt modelId="{983201D1-FE1B-4E68-92F6-DE539F857D4E}">
      <dgm:prSet custT="1"/>
      <dgm:spPr/>
      <dgm:t>
        <a:bodyPr/>
        <a:lstStyle/>
        <a:p>
          <a:pPr algn="ctr"/>
          <a:r>
            <a:rPr lang="es-EC" sz="20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Aceptar</a:t>
          </a:r>
          <a:endParaRPr lang="es-ES" sz="2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itchFamily="34" charset="0"/>
            <a:cs typeface="Calibri" pitchFamily="34" charset="0"/>
          </a:endParaRPr>
        </a:p>
      </dgm:t>
    </dgm:pt>
    <dgm:pt modelId="{19E8587F-4E52-427F-AE59-F763CC13BBF1}" type="parTrans" cxnId="{363D9B11-D3B1-4911-9489-39B2D38F7639}">
      <dgm:prSet/>
      <dgm:spPr/>
      <dgm:t>
        <a:bodyPr/>
        <a:lstStyle/>
        <a:p>
          <a:endParaRPr lang="es-ES"/>
        </a:p>
      </dgm:t>
    </dgm:pt>
    <dgm:pt modelId="{CC3FC2A5-00E7-40E7-B689-F70A660682CD}" type="sibTrans" cxnId="{363D9B11-D3B1-4911-9489-39B2D38F7639}">
      <dgm:prSet/>
      <dgm:spPr/>
      <dgm:t>
        <a:bodyPr/>
        <a:lstStyle/>
        <a:p>
          <a:endParaRPr lang="es-ES"/>
        </a:p>
      </dgm:t>
    </dgm:pt>
    <dgm:pt modelId="{2373D372-C19F-4663-9347-710091647522}" type="pres">
      <dgm:prSet presAssocID="{FE38019B-8F8D-4730-9E22-71FC2475B43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C8AA2D9F-D8A2-4029-961B-52C0D116BB15}" type="pres">
      <dgm:prSet presAssocID="{28D2910F-65C8-4FA3-904C-1A455A09C5F9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A0076BA-04A1-40D0-AA82-C3EF949FB8A7}" type="pres">
      <dgm:prSet presAssocID="{9E96A37D-5AFF-4695-9DEE-02475F27F502}" presName="spacer" presStyleCnt="0"/>
      <dgm:spPr/>
      <dgm:t>
        <a:bodyPr/>
        <a:lstStyle/>
        <a:p>
          <a:endParaRPr lang="es-ES"/>
        </a:p>
      </dgm:t>
    </dgm:pt>
    <dgm:pt modelId="{4B6BE432-082D-4348-A057-36D10FD42888}" type="pres">
      <dgm:prSet presAssocID="{983201D1-FE1B-4E68-92F6-DE539F857D4E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23DEA65-A3CF-47B7-AA3A-BAD2E008CCB7}" type="pres">
      <dgm:prSet presAssocID="{CC3FC2A5-00E7-40E7-B689-F70A660682CD}" presName="spacer" presStyleCnt="0"/>
      <dgm:spPr/>
      <dgm:t>
        <a:bodyPr/>
        <a:lstStyle/>
        <a:p>
          <a:endParaRPr lang="es-ES"/>
        </a:p>
      </dgm:t>
    </dgm:pt>
    <dgm:pt modelId="{967C86C0-A07D-49B3-8A5E-9C2BFD13D8C5}" type="pres">
      <dgm:prSet presAssocID="{468D27DE-FF7D-4B59-B575-85AAA905F3BC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5C73F49-8652-4F89-A704-94139A84B3BD}" type="pres">
      <dgm:prSet presAssocID="{DB76B950-D9A2-4FF6-8E40-AEA36079B50D}" presName="spacer" presStyleCnt="0"/>
      <dgm:spPr/>
      <dgm:t>
        <a:bodyPr/>
        <a:lstStyle/>
        <a:p>
          <a:endParaRPr lang="es-ES"/>
        </a:p>
      </dgm:t>
    </dgm:pt>
    <dgm:pt modelId="{B3AD69E3-8F00-4938-B986-C572750F44D0}" type="pres">
      <dgm:prSet presAssocID="{2EF45680-C8DE-47CF-9E10-BD3625A37404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46120920-7EE1-4140-9D35-B08469B848A8}" srcId="{FE38019B-8F8D-4730-9E22-71FC2475B430}" destId="{2EF45680-C8DE-47CF-9E10-BD3625A37404}" srcOrd="3" destOrd="0" parTransId="{B5641F44-FB98-4FD9-AC01-5CB3A983D89A}" sibTransId="{8BCE01E5-F3F0-4A83-8955-6FA7716F8977}"/>
    <dgm:cxn modelId="{A1ABE409-788D-46D8-910F-45E68A8691FE}" type="presOf" srcId="{468D27DE-FF7D-4B59-B575-85AAA905F3BC}" destId="{967C86C0-A07D-49B3-8A5E-9C2BFD13D8C5}" srcOrd="0" destOrd="0" presId="urn:microsoft.com/office/officeart/2005/8/layout/vList2"/>
    <dgm:cxn modelId="{2392C35B-1587-45DC-ABDA-508E8420940E}" type="presOf" srcId="{FE38019B-8F8D-4730-9E22-71FC2475B430}" destId="{2373D372-C19F-4663-9347-710091647522}" srcOrd="0" destOrd="0" presId="urn:microsoft.com/office/officeart/2005/8/layout/vList2"/>
    <dgm:cxn modelId="{CFC5C093-C684-47C3-801C-E9587077A62E}" type="presOf" srcId="{28D2910F-65C8-4FA3-904C-1A455A09C5F9}" destId="{C8AA2D9F-D8A2-4029-961B-52C0D116BB15}" srcOrd="0" destOrd="0" presId="urn:microsoft.com/office/officeart/2005/8/layout/vList2"/>
    <dgm:cxn modelId="{C425569C-3837-4B90-B066-5CABED5737E8}" srcId="{FE38019B-8F8D-4730-9E22-71FC2475B430}" destId="{28D2910F-65C8-4FA3-904C-1A455A09C5F9}" srcOrd="0" destOrd="0" parTransId="{9A7A520B-259A-4638-9DC8-944829944EA7}" sibTransId="{9E96A37D-5AFF-4695-9DEE-02475F27F502}"/>
    <dgm:cxn modelId="{363D9B11-D3B1-4911-9489-39B2D38F7639}" srcId="{FE38019B-8F8D-4730-9E22-71FC2475B430}" destId="{983201D1-FE1B-4E68-92F6-DE539F857D4E}" srcOrd="1" destOrd="0" parTransId="{19E8587F-4E52-427F-AE59-F763CC13BBF1}" sibTransId="{CC3FC2A5-00E7-40E7-B689-F70A660682CD}"/>
    <dgm:cxn modelId="{7E3DF2E7-8A72-4116-B80C-20765EE93282}" type="presOf" srcId="{983201D1-FE1B-4E68-92F6-DE539F857D4E}" destId="{4B6BE432-082D-4348-A057-36D10FD42888}" srcOrd="0" destOrd="0" presId="urn:microsoft.com/office/officeart/2005/8/layout/vList2"/>
    <dgm:cxn modelId="{641A4080-CD2E-4963-B101-AA68864728DB}" srcId="{FE38019B-8F8D-4730-9E22-71FC2475B430}" destId="{468D27DE-FF7D-4B59-B575-85AAA905F3BC}" srcOrd="2" destOrd="0" parTransId="{66807AAF-0C39-44D3-9C54-D806D2C13BC0}" sibTransId="{DB76B950-D9A2-4FF6-8E40-AEA36079B50D}"/>
    <dgm:cxn modelId="{07DC658B-3DF2-4787-B8A7-9FED56A60206}" type="presOf" srcId="{2EF45680-C8DE-47CF-9E10-BD3625A37404}" destId="{B3AD69E3-8F00-4938-B986-C572750F44D0}" srcOrd="0" destOrd="0" presId="urn:microsoft.com/office/officeart/2005/8/layout/vList2"/>
    <dgm:cxn modelId="{1FF81429-A309-4396-9FB9-4EBAE47FA09F}" type="presParOf" srcId="{2373D372-C19F-4663-9347-710091647522}" destId="{C8AA2D9F-D8A2-4029-961B-52C0D116BB15}" srcOrd="0" destOrd="0" presId="urn:microsoft.com/office/officeart/2005/8/layout/vList2"/>
    <dgm:cxn modelId="{3AC72F65-D612-4EBA-B604-2771363AD0ED}" type="presParOf" srcId="{2373D372-C19F-4663-9347-710091647522}" destId="{1A0076BA-04A1-40D0-AA82-C3EF949FB8A7}" srcOrd="1" destOrd="0" presId="urn:microsoft.com/office/officeart/2005/8/layout/vList2"/>
    <dgm:cxn modelId="{D9936667-AEA6-4739-A3EF-4E28ED9B0B5F}" type="presParOf" srcId="{2373D372-C19F-4663-9347-710091647522}" destId="{4B6BE432-082D-4348-A057-36D10FD42888}" srcOrd="2" destOrd="0" presId="urn:microsoft.com/office/officeart/2005/8/layout/vList2"/>
    <dgm:cxn modelId="{7D7880B9-711E-43F5-B349-6DFEC70A7CD6}" type="presParOf" srcId="{2373D372-C19F-4663-9347-710091647522}" destId="{823DEA65-A3CF-47B7-AA3A-BAD2E008CCB7}" srcOrd="3" destOrd="0" presId="urn:microsoft.com/office/officeart/2005/8/layout/vList2"/>
    <dgm:cxn modelId="{D5B15476-6E67-41F1-902A-89D672E25931}" type="presParOf" srcId="{2373D372-C19F-4663-9347-710091647522}" destId="{967C86C0-A07D-49B3-8A5E-9C2BFD13D8C5}" srcOrd="4" destOrd="0" presId="urn:microsoft.com/office/officeart/2005/8/layout/vList2"/>
    <dgm:cxn modelId="{C5B782B5-321D-4F9D-A5EF-0FCA9BF52F70}" type="presParOf" srcId="{2373D372-C19F-4663-9347-710091647522}" destId="{D5C73F49-8652-4F89-A704-94139A84B3BD}" srcOrd="5" destOrd="0" presId="urn:microsoft.com/office/officeart/2005/8/layout/vList2"/>
    <dgm:cxn modelId="{239C39CC-D58A-4DC7-9AC5-7DFB71B3AC4A}" type="presParOf" srcId="{2373D372-C19F-4663-9347-710091647522}" destId="{B3AD69E3-8F00-4938-B986-C572750F44D0}" srcOrd="6" destOrd="0" presId="urn:microsoft.com/office/officeart/2005/8/layout/vList2"/>
  </dgm:cxnLst>
  <dgm:bg>
    <a:effectLst>
      <a:glow rad="101600">
        <a:schemeClr val="accent4">
          <a:satMod val="175000"/>
          <a:alpha val="40000"/>
        </a:schemeClr>
      </a:glow>
    </a:effectLst>
  </dgm:bg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79DCEA08-AB71-4708-859F-0C22A8E46262}" type="doc">
      <dgm:prSet loTypeId="urn:microsoft.com/office/officeart/2005/8/layout/vList2" loCatId="list" qsTypeId="urn:microsoft.com/office/officeart/2005/8/quickstyle/simple4" qsCatId="simple" csTypeId="urn:microsoft.com/office/officeart/2005/8/colors/accent2_5" csCatId="accent2" phldr="1"/>
      <dgm:spPr/>
      <dgm:t>
        <a:bodyPr/>
        <a:lstStyle/>
        <a:p>
          <a:endParaRPr lang="es-ES"/>
        </a:p>
      </dgm:t>
    </dgm:pt>
    <dgm:pt modelId="{8630AEEB-6C60-4C09-87E4-49ADC5B637B4}">
      <dgm:prSet phldrT="[Texto]" custT="1"/>
      <dgm:spPr/>
      <dgm:t>
        <a:bodyPr/>
        <a:lstStyle/>
        <a:p>
          <a:pPr algn="ctr"/>
          <a:r>
            <a:rPr lang="es-EC" sz="1800" b="1" dirty="0" smtClean="0">
              <a:latin typeface="Calibri" pitchFamily="34" charset="0"/>
              <a:cs typeface="Calibri" pitchFamily="34" charset="0"/>
            </a:rPr>
            <a:t>Procedimientos</a:t>
          </a:r>
          <a:endParaRPr lang="es-ES" dirty="0"/>
        </a:p>
      </dgm:t>
    </dgm:pt>
    <dgm:pt modelId="{F29C67D1-4F4B-472F-9098-1F625336FB46}" type="parTrans" cxnId="{D1FD6071-6899-445C-914F-08AFF5BF9449}">
      <dgm:prSet/>
      <dgm:spPr/>
      <dgm:t>
        <a:bodyPr/>
        <a:lstStyle/>
        <a:p>
          <a:endParaRPr lang="es-ES"/>
        </a:p>
      </dgm:t>
    </dgm:pt>
    <dgm:pt modelId="{C0D1D6EF-F374-4172-A400-2B947C9573A9}" type="sibTrans" cxnId="{D1FD6071-6899-445C-914F-08AFF5BF9449}">
      <dgm:prSet/>
      <dgm:spPr/>
      <dgm:t>
        <a:bodyPr/>
        <a:lstStyle/>
        <a:p>
          <a:endParaRPr lang="es-ES"/>
        </a:p>
      </dgm:t>
    </dgm:pt>
    <dgm:pt modelId="{7B358B6F-1400-41F9-9745-D2AD53106E70}">
      <dgm:prSet phldrT="[Texto]" custT="1"/>
      <dgm:spPr/>
      <dgm:t>
        <a:bodyPr/>
        <a:lstStyle/>
        <a:p>
          <a:pPr marL="0" marR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EC" sz="1800" b="1" dirty="0" smtClean="0">
              <a:latin typeface="Calibri" pitchFamily="34" charset="0"/>
              <a:cs typeface="Calibri" pitchFamily="34" charset="0"/>
            </a:rPr>
            <a:t>Política de personal</a:t>
          </a:r>
          <a:endParaRPr lang="es-ES" dirty="0"/>
        </a:p>
      </dgm:t>
    </dgm:pt>
    <dgm:pt modelId="{B90B0858-1D9C-4146-981D-F79F8D6C3D3F}" type="parTrans" cxnId="{D42BA0D6-0ED3-4468-BDC9-A79738E818D7}">
      <dgm:prSet/>
      <dgm:spPr/>
      <dgm:t>
        <a:bodyPr/>
        <a:lstStyle/>
        <a:p>
          <a:endParaRPr lang="es-ES"/>
        </a:p>
      </dgm:t>
    </dgm:pt>
    <dgm:pt modelId="{6FBAA526-C718-4C2D-B647-6EDF7015A4BC}" type="sibTrans" cxnId="{D42BA0D6-0ED3-4468-BDC9-A79738E818D7}">
      <dgm:prSet/>
      <dgm:spPr/>
      <dgm:t>
        <a:bodyPr/>
        <a:lstStyle/>
        <a:p>
          <a:endParaRPr lang="es-ES"/>
        </a:p>
      </dgm:t>
    </dgm:pt>
    <dgm:pt modelId="{AF7BB411-60FA-4772-9801-14B9361EB4E5}">
      <dgm:prSet phldrT="[Texto]" custT="1"/>
      <dgm:spPr/>
      <dgm:t>
        <a:bodyPr/>
        <a:lstStyle/>
        <a:p>
          <a:pPr marL="0" marR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EC" sz="1800" b="1" dirty="0" smtClean="0">
              <a:latin typeface="Calibri" pitchFamily="34" charset="0"/>
              <a:cs typeface="Calibri" pitchFamily="34" charset="0"/>
            </a:rPr>
            <a:t>Soluciones técnicas</a:t>
          </a:r>
          <a:endParaRPr lang="es-ES" dirty="0"/>
        </a:p>
      </dgm:t>
    </dgm:pt>
    <dgm:pt modelId="{877CBBE7-F6C0-458A-8AE5-3193C76B624D}" type="parTrans" cxnId="{3FDAA8C6-2F6D-4A21-855F-BC32BA2D39E3}">
      <dgm:prSet/>
      <dgm:spPr/>
      <dgm:t>
        <a:bodyPr/>
        <a:lstStyle/>
        <a:p>
          <a:endParaRPr lang="es-ES"/>
        </a:p>
      </dgm:t>
    </dgm:pt>
    <dgm:pt modelId="{2DFE1801-2A94-487C-943F-2BF03DEDD074}" type="sibTrans" cxnId="{3FDAA8C6-2F6D-4A21-855F-BC32BA2D39E3}">
      <dgm:prSet/>
      <dgm:spPr/>
      <dgm:t>
        <a:bodyPr/>
        <a:lstStyle/>
        <a:p>
          <a:endParaRPr lang="es-ES"/>
        </a:p>
      </dgm:t>
    </dgm:pt>
    <dgm:pt modelId="{BFA33574-88B7-4CD8-ADAB-CD7730034CCC}" type="pres">
      <dgm:prSet presAssocID="{79DCEA08-AB71-4708-859F-0C22A8E4626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1988B1EA-E0E9-49E5-9A13-9257093D7D02}" type="pres">
      <dgm:prSet presAssocID="{8630AEEB-6C60-4C09-87E4-49ADC5B637B4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B5E2D80-685B-4BCD-819A-20C581587A18}" type="pres">
      <dgm:prSet presAssocID="{C0D1D6EF-F374-4172-A400-2B947C9573A9}" presName="spacer" presStyleCnt="0"/>
      <dgm:spPr/>
    </dgm:pt>
    <dgm:pt modelId="{F8B54329-198F-40CA-B544-966285EF94A5}" type="pres">
      <dgm:prSet presAssocID="{7B358B6F-1400-41F9-9745-D2AD53106E70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2EE8B6B-FEDC-4CA9-A267-9850D07CABCD}" type="pres">
      <dgm:prSet presAssocID="{6FBAA526-C718-4C2D-B647-6EDF7015A4BC}" presName="spacer" presStyleCnt="0"/>
      <dgm:spPr/>
    </dgm:pt>
    <dgm:pt modelId="{0CFB538E-BFBD-41EE-A1DF-59265163A028}" type="pres">
      <dgm:prSet presAssocID="{AF7BB411-60FA-4772-9801-14B9361EB4E5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D42BA0D6-0ED3-4468-BDC9-A79738E818D7}" srcId="{79DCEA08-AB71-4708-859F-0C22A8E46262}" destId="{7B358B6F-1400-41F9-9745-D2AD53106E70}" srcOrd="1" destOrd="0" parTransId="{B90B0858-1D9C-4146-981D-F79F8D6C3D3F}" sibTransId="{6FBAA526-C718-4C2D-B647-6EDF7015A4BC}"/>
    <dgm:cxn modelId="{3FDAA8C6-2F6D-4A21-855F-BC32BA2D39E3}" srcId="{79DCEA08-AB71-4708-859F-0C22A8E46262}" destId="{AF7BB411-60FA-4772-9801-14B9361EB4E5}" srcOrd="2" destOrd="0" parTransId="{877CBBE7-F6C0-458A-8AE5-3193C76B624D}" sibTransId="{2DFE1801-2A94-487C-943F-2BF03DEDD074}"/>
    <dgm:cxn modelId="{FACB1DAB-9314-4D34-A1BA-5EEA1AA1EC45}" type="presOf" srcId="{7B358B6F-1400-41F9-9745-D2AD53106E70}" destId="{F8B54329-198F-40CA-B544-966285EF94A5}" srcOrd="0" destOrd="0" presId="urn:microsoft.com/office/officeart/2005/8/layout/vList2"/>
    <dgm:cxn modelId="{6F98CDB6-72F1-47A0-9671-8DA1CF2354B3}" type="presOf" srcId="{AF7BB411-60FA-4772-9801-14B9361EB4E5}" destId="{0CFB538E-BFBD-41EE-A1DF-59265163A028}" srcOrd="0" destOrd="0" presId="urn:microsoft.com/office/officeart/2005/8/layout/vList2"/>
    <dgm:cxn modelId="{D1FD6071-6899-445C-914F-08AFF5BF9449}" srcId="{79DCEA08-AB71-4708-859F-0C22A8E46262}" destId="{8630AEEB-6C60-4C09-87E4-49ADC5B637B4}" srcOrd="0" destOrd="0" parTransId="{F29C67D1-4F4B-472F-9098-1F625336FB46}" sibTransId="{C0D1D6EF-F374-4172-A400-2B947C9573A9}"/>
    <dgm:cxn modelId="{36F0E503-E1E8-45A5-8F4B-F82ED059638C}" type="presOf" srcId="{79DCEA08-AB71-4708-859F-0C22A8E46262}" destId="{BFA33574-88B7-4CD8-ADAB-CD7730034CCC}" srcOrd="0" destOrd="0" presId="urn:microsoft.com/office/officeart/2005/8/layout/vList2"/>
    <dgm:cxn modelId="{FDD79DB3-61C8-4FBD-96F7-7EBF1B83B1FC}" type="presOf" srcId="{8630AEEB-6C60-4C09-87E4-49ADC5B637B4}" destId="{1988B1EA-E0E9-49E5-9A13-9257093D7D02}" srcOrd="0" destOrd="0" presId="urn:microsoft.com/office/officeart/2005/8/layout/vList2"/>
    <dgm:cxn modelId="{8B4B4A1B-818A-44DC-94F0-F0279CC66A7F}" type="presParOf" srcId="{BFA33574-88B7-4CD8-ADAB-CD7730034CCC}" destId="{1988B1EA-E0E9-49E5-9A13-9257093D7D02}" srcOrd="0" destOrd="0" presId="urn:microsoft.com/office/officeart/2005/8/layout/vList2"/>
    <dgm:cxn modelId="{D0096B3B-6240-4D77-9576-677DEFE857AE}" type="presParOf" srcId="{BFA33574-88B7-4CD8-ADAB-CD7730034CCC}" destId="{EB5E2D80-685B-4BCD-819A-20C581587A18}" srcOrd="1" destOrd="0" presId="urn:microsoft.com/office/officeart/2005/8/layout/vList2"/>
    <dgm:cxn modelId="{DE8E4BB3-BA01-4BD4-AF24-0424D927A0A4}" type="presParOf" srcId="{BFA33574-88B7-4CD8-ADAB-CD7730034CCC}" destId="{F8B54329-198F-40CA-B544-966285EF94A5}" srcOrd="2" destOrd="0" presId="urn:microsoft.com/office/officeart/2005/8/layout/vList2"/>
    <dgm:cxn modelId="{375DEBB6-7F4E-4D6B-A8C8-3A5D8548A7F0}" type="presParOf" srcId="{BFA33574-88B7-4CD8-ADAB-CD7730034CCC}" destId="{C2EE8B6B-FEDC-4CA9-A267-9850D07CABCD}" srcOrd="3" destOrd="0" presId="urn:microsoft.com/office/officeart/2005/8/layout/vList2"/>
    <dgm:cxn modelId="{31030366-2645-41AC-AF69-46F96AB0FC67}" type="presParOf" srcId="{BFA33574-88B7-4CD8-ADAB-CD7730034CCC}" destId="{0CFB538E-BFBD-41EE-A1DF-59265163A028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E283642-B6B9-47E6-A2F6-6C36162F2E38}" type="doc">
      <dgm:prSet loTypeId="urn:microsoft.com/office/officeart/2005/8/layout/cycle3" loCatId="cycle" qsTypeId="urn:microsoft.com/office/officeart/2005/8/quickstyle/simple5" qsCatId="simple" csTypeId="urn:microsoft.com/office/officeart/2005/8/colors/accent2_3" csCatId="accent2" phldr="1"/>
      <dgm:spPr/>
      <dgm:t>
        <a:bodyPr/>
        <a:lstStyle/>
        <a:p>
          <a:endParaRPr lang="es-ES"/>
        </a:p>
      </dgm:t>
    </dgm:pt>
    <dgm:pt modelId="{FACA8F18-AD8D-460A-AD1F-36EB0DE29E41}">
      <dgm:prSet phldrT="[Texto]" custT="1"/>
      <dgm:spPr/>
      <dgm:t>
        <a:bodyPr/>
        <a:lstStyle/>
        <a:p>
          <a:r>
            <a:rPr lang="es-EC" sz="2000" b="1" dirty="0" smtClean="0">
              <a:latin typeface="Calibri" pitchFamily="34" charset="0"/>
              <a:cs typeface="Calibri" pitchFamily="34" charset="0"/>
            </a:rPr>
            <a:t>Planificar</a:t>
          </a:r>
          <a:endParaRPr lang="es-ES" sz="2000" b="1" dirty="0">
            <a:latin typeface="Calibri" pitchFamily="34" charset="0"/>
            <a:cs typeface="Calibri" pitchFamily="34" charset="0"/>
          </a:endParaRPr>
        </a:p>
      </dgm:t>
    </dgm:pt>
    <dgm:pt modelId="{5B14D781-6D6E-4497-AE63-2F66FF1FFEA0}" type="parTrans" cxnId="{49545284-4D9D-4DEB-91EE-D4A1157EABF6}">
      <dgm:prSet/>
      <dgm:spPr/>
      <dgm:t>
        <a:bodyPr/>
        <a:lstStyle/>
        <a:p>
          <a:endParaRPr lang="es-ES" sz="2000" b="1">
            <a:solidFill>
              <a:schemeClr val="accent4"/>
            </a:solidFill>
            <a:latin typeface="Calibri" pitchFamily="34" charset="0"/>
            <a:cs typeface="Calibri" pitchFamily="34" charset="0"/>
          </a:endParaRPr>
        </a:p>
      </dgm:t>
    </dgm:pt>
    <dgm:pt modelId="{F00F5474-7049-4D0D-9E14-4FBD9F5352D1}" type="sibTrans" cxnId="{49545284-4D9D-4DEB-91EE-D4A1157EABF6}">
      <dgm:prSet/>
      <dgm:spPr/>
      <dgm:t>
        <a:bodyPr/>
        <a:lstStyle/>
        <a:p>
          <a:endParaRPr lang="es-ES" sz="2000" b="1">
            <a:solidFill>
              <a:schemeClr val="accent4"/>
            </a:solidFill>
            <a:latin typeface="Calibri" pitchFamily="34" charset="0"/>
            <a:cs typeface="Calibri" pitchFamily="34" charset="0"/>
          </a:endParaRPr>
        </a:p>
      </dgm:t>
    </dgm:pt>
    <dgm:pt modelId="{93B245C6-369F-40F5-BD23-8AED1B1F84F7}">
      <dgm:prSet phldrT="[Texto]" custT="1"/>
      <dgm:spPr/>
      <dgm:t>
        <a:bodyPr/>
        <a:lstStyle/>
        <a:p>
          <a:r>
            <a:rPr lang="es-ES" sz="2000" b="1" dirty="0" smtClean="0">
              <a:latin typeface="Calibri" pitchFamily="34" charset="0"/>
              <a:cs typeface="Calibri" pitchFamily="34" charset="0"/>
            </a:rPr>
            <a:t>Implementar</a:t>
          </a:r>
          <a:endParaRPr lang="es-ES" sz="2000" b="1" dirty="0">
            <a:latin typeface="Calibri" pitchFamily="34" charset="0"/>
            <a:cs typeface="Calibri" pitchFamily="34" charset="0"/>
          </a:endParaRPr>
        </a:p>
      </dgm:t>
    </dgm:pt>
    <dgm:pt modelId="{3AA6A414-9846-4A9B-B48E-4DF6B88A2140}" type="parTrans" cxnId="{C2A5DB2F-F9B3-41A6-B3D9-6E4BCC8BF273}">
      <dgm:prSet/>
      <dgm:spPr/>
      <dgm:t>
        <a:bodyPr/>
        <a:lstStyle/>
        <a:p>
          <a:endParaRPr lang="es-ES" sz="2000" b="1">
            <a:solidFill>
              <a:schemeClr val="accent4"/>
            </a:solidFill>
            <a:latin typeface="Calibri" pitchFamily="34" charset="0"/>
            <a:cs typeface="Calibri" pitchFamily="34" charset="0"/>
          </a:endParaRPr>
        </a:p>
      </dgm:t>
    </dgm:pt>
    <dgm:pt modelId="{DD8A7D31-7C4B-4454-8984-5D865A40D2F5}" type="sibTrans" cxnId="{C2A5DB2F-F9B3-41A6-B3D9-6E4BCC8BF273}">
      <dgm:prSet/>
      <dgm:spPr/>
      <dgm:t>
        <a:bodyPr/>
        <a:lstStyle/>
        <a:p>
          <a:endParaRPr lang="es-ES" sz="2000" b="1">
            <a:solidFill>
              <a:schemeClr val="accent4"/>
            </a:solidFill>
            <a:latin typeface="Calibri" pitchFamily="34" charset="0"/>
            <a:cs typeface="Calibri" pitchFamily="34" charset="0"/>
          </a:endParaRPr>
        </a:p>
      </dgm:t>
    </dgm:pt>
    <dgm:pt modelId="{0DFBE442-90D6-4278-B823-F8BDADD6AEAB}">
      <dgm:prSet phldrT="[Texto]" custT="1"/>
      <dgm:spPr/>
      <dgm:t>
        <a:bodyPr/>
        <a:lstStyle/>
        <a:p>
          <a:r>
            <a:rPr lang="es-ES" sz="2000" b="1" dirty="0" smtClean="0">
              <a:latin typeface="Calibri" pitchFamily="34" charset="0"/>
              <a:cs typeface="Calibri" pitchFamily="34" charset="0"/>
            </a:rPr>
            <a:t>Mejorar</a:t>
          </a:r>
          <a:endParaRPr lang="es-ES" sz="2000" b="1" dirty="0">
            <a:latin typeface="Calibri" pitchFamily="34" charset="0"/>
            <a:cs typeface="Calibri" pitchFamily="34" charset="0"/>
          </a:endParaRPr>
        </a:p>
      </dgm:t>
    </dgm:pt>
    <dgm:pt modelId="{7EB60689-C4D3-4260-B9CD-3C52CA18F210}" type="parTrans" cxnId="{EA1D6C00-ABF3-42D2-8610-32220D6EBF19}">
      <dgm:prSet/>
      <dgm:spPr/>
      <dgm:t>
        <a:bodyPr/>
        <a:lstStyle/>
        <a:p>
          <a:endParaRPr lang="es-ES" sz="2000" b="1">
            <a:solidFill>
              <a:schemeClr val="accent4"/>
            </a:solidFill>
            <a:latin typeface="Calibri" pitchFamily="34" charset="0"/>
            <a:cs typeface="Calibri" pitchFamily="34" charset="0"/>
          </a:endParaRPr>
        </a:p>
      </dgm:t>
    </dgm:pt>
    <dgm:pt modelId="{5133AB49-4020-48B2-B6B2-16A521DF588C}" type="sibTrans" cxnId="{EA1D6C00-ABF3-42D2-8610-32220D6EBF19}">
      <dgm:prSet/>
      <dgm:spPr/>
      <dgm:t>
        <a:bodyPr/>
        <a:lstStyle/>
        <a:p>
          <a:endParaRPr lang="es-ES" sz="2000" b="1">
            <a:solidFill>
              <a:schemeClr val="accent4"/>
            </a:solidFill>
            <a:latin typeface="Calibri" pitchFamily="34" charset="0"/>
            <a:cs typeface="Calibri" pitchFamily="34" charset="0"/>
          </a:endParaRPr>
        </a:p>
      </dgm:t>
    </dgm:pt>
    <dgm:pt modelId="{D359BD4C-ED53-4094-B012-9ED9C7A8961A}">
      <dgm:prSet phldrT="[Texto]" custT="1"/>
      <dgm:spPr/>
      <dgm:t>
        <a:bodyPr/>
        <a:lstStyle/>
        <a:p>
          <a:r>
            <a:rPr lang="es-ES" sz="2000" b="1" dirty="0" smtClean="0">
              <a:latin typeface="Calibri" pitchFamily="34" charset="0"/>
              <a:cs typeface="Calibri" pitchFamily="34" charset="0"/>
            </a:rPr>
            <a:t>Verificar</a:t>
          </a:r>
          <a:endParaRPr lang="es-ES" sz="2000" b="1" dirty="0">
            <a:latin typeface="Calibri" pitchFamily="34" charset="0"/>
            <a:cs typeface="Calibri" pitchFamily="34" charset="0"/>
          </a:endParaRPr>
        </a:p>
      </dgm:t>
    </dgm:pt>
    <dgm:pt modelId="{26F3B987-2C37-4D95-AB91-1ED8FD60849E}" type="parTrans" cxnId="{7D0D29E2-C7AA-4839-9439-994918E57C54}">
      <dgm:prSet/>
      <dgm:spPr/>
      <dgm:t>
        <a:bodyPr/>
        <a:lstStyle/>
        <a:p>
          <a:endParaRPr lang="es-ES" sz="2000" b="1">
            <a:solidFill>
              <a:schemeClr val="accent4"/>
            </a:solidFill>
            <a:latin typeface="Calibri" pitchFamily="34" charset="0"/>
            <a:cs typeface="Calibri" pitchFamily="34" charset="0"/>
          </a:endParaRPr>
        </a:p>
      </dgm:t>
    </dgm:pt>
    <dgm:pt modelId="{B3A2283A-CF0E-43AE-848E-86DDFD53DE76}" type="sibTrans" cxnId="{7D0D29E2-C7AA-4839-9439-994918E57C54}">
      <dgm:prSet/>
      <dgm:spPr/>
      <dgm:t>
        <a:bodyPr/>
        <a:lstStyle/>
        <a:p>
          <a:endParaRPr lang="es-ES" sz="2000" b="1">
            <a:solidFill>
              <a:schemeClr val="accent4"/>
            </a:solidFill>
            <a:latin typeface="Calibri" pitchFamily="34" charset="0"/>
            <a:cs typeface="Calibri" pitchFamily="34" charset="0"/>
          </a:endParaRPr>
        </a:p>
      </dgm:t>
    </dgm:pt>
    <dgm:pt modelId="{8DF49604-5D72-4616-91E4-997CFFB368A5}" type="pres">
      <dgm:prSet presAssocID="{6E283642-B6B9-47E6-A2F6-6C36162F2E3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AABFEE0A-4D41-4480-ADF3-C7EAAE665D08}" type="pres">
      <dgm:prSet presAssocID="{6E283642-B6B9-47E6-A2F6-6C36162F2E38}" presName="cycle" presStyleCnt="0"/>
      <dgm:spPr/>
    </dgm:pt>
    <dgm:pt modelId="{E9022B72-234A-46F1-8377-C3D8C5C76476}" type="pres">
      <dgm:prSet presAssocID="{FACA8F18-AD8D-460A-AD1F-36EB0DE29E41}" presName="nodeFirstNode" presStyleLbl="node1" presStyleIdx="0" presStyleCnt="4" custScaleY="72330" custRadScaleRad="115640" custRadScaleInc="-98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788E7CF-336E-4AB1-839A-8995136387CC}" type="pres">
      <dgm:prSet presAssocID="{F00F5474-7049-4D0D-9E14-4FBD9F5352D1}" presName="sibTransFirstNode" presStyleLbl="bgShp" presStyleIdx="0" presStyleCnt="1"/>
      <dgm:spPr/>
      <dgm:t>
        <a:bodyPr/>
        <a:lstStyle/>
        <a:p>
          <a:endParaRPr lang="es-ES"/>
        </a:p>
      </dgm:t>
    </dgm:pt>
    <dgm:pt modelId="{1C38BB85-8328-44B3-9045-A390D60E921A}" type="pres">
      <dgm:prSet presAssocID="{93B245C6-369F-40F5-BD23-8AED1B1F84F7}" presName="nodeFollowingNodes" presStyleLbl="node1" presStyleIdx="1" presStyleCnt="4" custScaleY="75660" custRadScaleRad="107229" custRadScaleInc="-286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704093D-26A2-4EDB-B399-958FE63F498D}" type="pres">
      <dgm:prSet presAssocID="{D359BD4C-ED53-4094-B012-9ED9C7A8961A}" presName="nodeFollowingNodes" presStyleLbl="node1" presStyleIdx="2" presStyleCnt="4" custScaleY="7173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EF3EBFA-5C16-4E79-A325-FA6F74F94040}" type="pres">
      <dgm:prSet presAssocID="{0DFBE442-90D6-4278-B823-F8BDADD6AEAB}" presName="nodeFollowingNodes" presStyleLbl="node1" presStyleIdx="3" presStyleCnt="4" custScaleY="75659" custRadScaleRad="124634" custRadScaleInc="246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7D0D29E2-C7AA-4839-9439-994918E57C54}" srcId="{6E283642-B6B9-47E6-A2F6-6C36162F2E38}" destId="{D359BD4C-ED53-4094-B012-9ED9C7A8961A}" srcOrd="2" destOrd="0" parTransId="{26F3B987-2C37-4D95-AB91-1ED8FD60849E}" sibTransId="{B3A2283A-CF0E-43AE-848E-86DDFD53DE76}"/>
    <dgm:cxn modelId="{49545284-4D9D-4DEB-91EE-D4A1157EABF6}" srcId="{6E283642-B6B9-47E6-A2F6-6C36162F2E38}" destId="{FACA8F18-AD8D-460A-AD1F-36EB0DE29E41}" srcOrd="0" destOrd="0" parTransId="{5B14D781-6D6E-4497-AE63-2F66FF1FFEA0}" sibTransId="{F00F5474-7049-4D0D-9E14-4FBD9F5352D1}"/>
    <dgm:cxn modelId="{5FBD2400-B719-4324-BB77-0E7F0C1DD1D4}" type="presOf" srcId="{6E283642-B6B9-47E6-A2F6-6C36162F2E38}" destId="{8DF49604-5D72-4616-91E4-997CFFB368A5}" srcOrd="0" destOrd="0" presId="urn:microsoft.com/office/officeart/2005/8/layout/cycle3"/>
    <dgm:cxn modelId="{E2F3A788-983E-4739-AE97-934380A346A9}" type="presOf" srcId="{F00F5474-7049-4D0D-9E14-4FBD9F5352D1}" destId="{C788E7CF-336E-4AB1-839A-8995136387CC}" srcOrd="0" destOrd="0" presId="urn:microsoft.com/office/officeart/2005/8/layout/cycle3"/>
    <dgm:cxn modelId="{72AA6566-BB32-45E5-A8B7-572DDDAEACA0}" type="presOf" srcId="{93B245C6-369F-40F5-BD23-8AED1B1F84F7}" destId="{1C38BB85-8328-44B3-9045-A390D60E921A}" srcOrd="0" destOrd="0" presId="urn:microsoft.com/office/officeart/2005/8/layout/cycle3"/>
    <dgm:cxn modelId="{7DBFDFCC-1DD4-45F4-A650-6C0AE3D6C291}" type="presOf" srcId="{FACA8F18-AD8D-460A-AD1F-36EB0DE29E41}" destId="{E9022B72-234A-46F1-8377-C3D8C5C76476}" srcOrd="0" destOrd="0" presId="urn:microsoft.com/office/officeart/2005/8/layout/cycle3"/>
    <dgm:cxn modelId="{8EC8491C-9134-4985-A4B0-9027A5676C05}" type="presOf" srcId="{0DFBE442-90D6-4278-B823-F8BDADD6AEAB}" destId="{5EF3EBFA-5C16-4E79-A325-FA6F74F94040}" srcOrd="0" destOrd="0" presId="urn:microsoft.com/office/officeart/2005/8/layout/cycle3"/>
    <dgm:cxn modelId="{EA1D6C00-ABF3-42D2-8610-32220D6EBF19}" srcId="{6E283642-B6B9-47E6-A2F6-6C36162F2E38}" destId="{0DFBE442-90D6-4278-B823-F8BDADD6AEAB}" srcOrd="3" destOrd="0" parTransId="{7EB60689-C4D3-4260-B9CD-3C52CA18F210}" sibTransId="{5133AB49-4020-48B2-B6B2-16A521DF588C}"/>
    <dgm:cxn modelId="{25B38E29-B93A-43E7-B38F-8E0018ED5628}" type="presOf" srcId="{D359BD4C-ED53-4094-B012-9ED9C7A8961A}" destId="{6704093D-26A2-4EDB-B399-958FE63F498D}" srcOrd="0" destOrd="0" presId="urn:microsoft.com/office/officeart/2005/8/layout/cycle3"/>
    <dgm:cxn modelId="{C2A5DB2F-F9B3-41A6-B3D9-6E4BCC8BF273}" srcId="{6E283642-B6B9-47E6-A2F6-6C36162F2E38}" destId="{93B245C6-369F-40F5-BD23-8AED1B1F84F7}" srcOrd="1" destOrd="0" parTransId="{3AA6A414-9846-4A9B-B48E-4DF6B88A2140}" sibTransId="{DD8A7D31-7C4B-4454-8984-5D865A40D2F5}"/>
    <dgm:cxn modelId="{8569E309-4F0D-4BE0-BC32-EE8A8F146175}" type="presParOf" srcId="{8DF49604-5D72-4616-91E4-997CFFB368A5}" destId="{AABFEE0A-4D41-4480-ADF3-C7EAAE665D08}" srcOrd="0" destOrd="0" presId="urn:microsoft.com/office/officeart/2005/8/layout/cycle3"/>
    <dgm:cxn modelId="{6CC7177E-400F-43D7-8782-136AD162562E}" type="presParOf" srcId="{AABFEE0A-4D41-4480-ADF3-C7EAAE665D08}" destId="{E9022B72-234A-46F1-8377-C3D8C5C76476}" srcOrd="0" destOrd="0" presId="urn:microsoft.com/office/officeart/2005/8/layout/cycle3"/>
    <dgm:cxn modelId="{52308F01-5409-418B-B66B-2A7F850EE8D5}" type="presParOf" srcId="{AABFEE0A-4D41-4480-ADF3-C7EAAE665D08}" destId="{C788E7CF-336E-4AB1-839A-8995136387CC}" srcOrd="1" destOrd="0" presId="urn:microsoft.com/office/officeart/2005/8/layout/cycle3"/>
    <dgm:cxn modelId="{AF76F156-F7BC-476D-BBC3-0CD4F58401C6}" type="presParOf" srcId="{AABFEE0A-4D41-4480-ADF3-C7EAAE665D08}" destId="{1C38BB85-8328-44B3-9045-A390D60E921A}" srcOrd="2" destOrd="0" presId="urn:microsoft.com/office/officeart/2005/8/layout/cycle3"/>
    <dgm:cxn modelId="{BF363B2D-EB8A-4F3B-9069-37276B3C228F}" type="presParOf" srcId="{AABFEE0A-4D41-4480-ADF3-C7EAAE665D08}" destId="{6704093D-26A2-4EDB-B399-958FE63F498D}" srcOrd="3" destOrd="0" presId="urn:microsoft.com/office/officeart/2005/8/layout/cycle3"/>
    <dgm:cxn modelId="{84118FF5-9C76-4C26-BFB2-3BBC5B0A9DC0}" type="presParOf" srcId="{AABFEE0A-4D41-4480-ADF3-C7EAAE665D08}" destId="{5EF3EBFA-5C16-4E79-A325-FA6F74F94040}" srcOrd="4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EAA203E-71EB-457E-863A-619114D372D8}" type="doc">
      <dgm:prSet loTypeId="urn:microsoft.com/office/officeart/2008/layout/VerticalCurvedList" loCatId="list" qsTypeId="urn:microsoft.com/office/officeart/2005/8/quickstyle/3d1" qsCatId="3D" csTypeId="urn:microsoft.com/office/officeart/2005/8/colors/accent2_3" csCatId="accent2" phldr="1"/>
      <dgm:spPr/>
      <dgm:t>
        <a:bodyPr/>
        <a:lstStyle/>
        <a:p>
          <a:endParaRPr lang="es-ES"/>
        </a:p>
      </dgm:t>
    </dgm:pt>
    <dgm:pt modelId="{54D81249-92E7-4FA0-9F20-10ED892FAA84}">
      <dgm:prSet phldrT="[Texto]" custT="1"/>
      <dgm:spPr/>
      <dgm:t>
        <a:bodyPr/>
        <a:lstStyle/>
        <a:p>
          <a:r>
            <a:rPr lang="es-ES" sz="1500" b="1" dirty="0" smtClean="0"/>
            <a:t>Integridad</a:t>
          </a:r>
          <a:endParaRPr lang="es-ES" sz="1500" b="1" dirty="0"/>
        </a:p>
      </dgm:t>
    </dgm:pt>
    <dgm:pt modelId="{52ABDD74-A5AC-4D43-8A0B-7D182F46593C}" type="parTrans" cxnId="{24B5F168-E081-4775-B5A3-EB6312AA5EB8}">
      <dgm:prSet/>
      <dgm:spPr/>
      <dgm:t>
        <a:bodyPr/>
        <a:lstStyle/>
        <a:p>
          <a:endParaRPr lang="es-ES" sz="1500" b="1">
            <a:solidFill>
              <a:schemeClr val="tx1"/>
            </a:solidFill>
          </a:endParaRPr>
        </a:p>
      </dgm:t>
    </dgm:pt>
    <dgm:pt modelId="{1F414364-D3F0-44AB-BC20-06189E4A5DFE}" type="sibTrans" cxnId="{24B5F168-E081-4775-B5A3-EB6312AA5EB8}">
      <dgm:prSet/>
      <dgm:spPr/>
      <dgm:t>
        <a:bodyPr/>
        <a:lstStyle/>
        <a:p>
          <a:endParaRPr lang="es-ES" sz="1500" b="1">
            <a:solidFill>
              <a:schemeClr val="tx1"/>
            </a:solidFill>
          </a:endParaRPr>
        </a:p>
      </dgm:t>
    </dgm:pt>
    <dgm:pt modelId="{FA5D77CD-848E-47A1-ADEE-96CDA86E678E}">
      <dgm:prSet phldrT="[Texto]" custT="1"/>
      <dgm:spPr/>
      <dgm:t>
        <a:bodyPr/>
        <a:lstStyle/>
        <a:p>
          <a:r>
            <a:rPr lang="es-ES" sz="1500" b="1" smtClean="0"/>
            <a:t>Disponibilidad</a:t>
          </a:r>
          <a:endParaRPr lang="es-ES" sz="1500" b="1" dirty="0"/>
        </a:p>
      </dgm:t>
    </dgm:pt>
    <dgm:pt modelId="{B2E073D5-B761-4690-A85B-09066D0BBB16}" type="parTrans" cxnId="{2586CA0B-8F5A-4A04-9080-476D2445662F}">
      <dgm:prSet/>
      <dgm:spPr/>
      <dgm:t>
        <a:bodyPr/>
        <a:lstStyle/>
        <a:p>
          <a:endParaRPr lang="es-ES" sz="1500" b="1">
            <a:solidFill>
              <a:schemeClr val="tx1"/>
            </a:solidFill>
          </a:endParaRPr>
        </a:p>
      </dgm:t>
    </dgm:pt>
    <dgm:pt modelId="{41BAAA3C-6A8E-4754-8652-873FD025AE9C}" type="sibTrans" cxnId="{2586CA0B-8F5A-4A04-9080-476D2445662F}">
      <dgm:prSet/>
      <dgm:spPr/>
      <dgm:t>
        <a:bodyPr/>
        <a:lstStyle/>
        <a:p>
          <a:endParaRPr lang="es-ES" sz="1500" b="1">
            <a:solidFill>
              <a:schemeClr val="tx1"/>
            </a:solidFill>
          </a:endParaRPr>
        </a:p>
      </dgm:t>
    </dgm:pt>
    <dgm:pt modelId="{115CA0ED-DC71-47EE-9B26-59E90DCF5754}">
      <dgm:prSet phldrT="[Texto]" custT="1"/>
      <dgm:spPr/>
      <dgm:t>
        <a:bodyPr/>
        <a:lstStyle/>
        <a:p>
          <a:r>
            <a:rPr lang="es-ES" sz="1500" b="1" dirty="0" smtClean="0"/>
            <a:t>Confidencialidad</a:t>
          </a:r>
          <a:endParaRPr lang="es-ES" sz="1500" b="1" dirty="0"/>
        </a:p>
      </dgm:t>
    </dgm:pt>
    <dgm:pt modelId="{D4092E61-942E-42D4-994F-105080709315}" type="parTrans" cxnId="{4BB48AA5-BF8F-4963-8B36-139A356C4CF4}">
      <dgm:prSet/>
      <dgm:spPr/>
      <dgm:t>
        <a:bodyPr/>
        <a:lstStyle/>
        <a:p>
          <a:endParaRPr lang="es-ES" sz="1500" b="1">
            <a:solidFill>
              <a:schemeClr val="tx1"/>
            </a:solidFill>
          </a:endParaRPr>
        </a:p>
      </dgm:t>
    </dgm:pt>
    <dgm:pt modelId="{AF6D4395-537E-462B-A6ED-CC4EA248428D}" type="sibTrans" cxnId="{4BB48AA5-BF8F-4963-8B36-139A356C4CF4}">
      <dgm:prSet/>
      <dgm:spPr/>
      <dgm:t>
        <a:bodyPr/>
        <a:lstStyle/>
        <a:p>
          <a:endParaRPr lang="es-ES" sz="1500" b="1">
            <a:solidFill>
              <a:schemeClr val="tx1"/>
            </a:solidFill>
          </a:endParaRPr>
        </a:p>
      </dgm:t>
    </dgm:pt>
    <dgm:pt modelId="{E58266AA-977E-4B72-B4FE-4E76121E5DCB}" type="pres">
      <dgm:prSet presAssocID="{4EAA203E-71EB-457E-863A-619114D372D8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s-ES"/>
        </a:p>
      </dgm:t>
    </dgm:pt>
    <dgm:pt modelId="{1476E8F0-4537-4D08-8FB0-94AF28DA3799}" type="pres">
      <dgm:prSet presAssocID="{4EAA203E-71EB-457E-863A-619114D372D8}" presName="Name1" presStyleCnt="0"/>
      <dgm:spPr/>
    </dgm:pt>
    <dgm:pt modelId="{95C692BF-A148-460C-9FC6-047EE460D27C}" type="pres">
      <dgm:prSet presAssocID="{4EAA203E-71EB-457E-863A-619114D372D8}" presName="cycle" presStyleCnt="0"/>
      <dgm:spPr/>
    </dgm:pt>
    <dgm:pt modelId="{AAE1E35F-A164-43DC-90B8-3C76894E35A9}" type="pres">
      <dgm:prSet presAssocID="{4EAA203E-71EB-457E-863A-619114D372D8}" presName="srcNode" presStyleLbl="node1" presStyleIdx="0" presStyleCnt="3"/>
      <dgm:spPr/>
    </dgm:pt>
    <dgm:pt modelId="{6D8246F0-50F8-4563-AA81-FB3B18A90957}" type="pres">
      <dgm:prSet presAssocID="{4EAA203E-71EB-457E-863A-619114D372D8}" presName="conn" presStyleLbl="parChTrans1D2" presStyleIdx="0" presStyleCnt="1"/>
      <dgm:spPr/>
      <dgm:t>
        <a:bodyPr/>
        <a:lstStyle/>
        <a:p>
          <a:endParaRPr lang="es-ES"/>
        </a:p>
      </dgm:t>
    </dgm:pt>
    <dgm:pt modelId="{6498B903-3810-49E8-9868-F6850A932BEA}" type="pres">
      <dgm:prSet presAssocID="{4EAA203E-71EB-457E-863A-619114D372D8}" presName="extraNode" presStyleLbl="node1" presStyleIdx="0" presStyleCnt="3"/>
      <dgm:spPr/>
    </dgm:pt>
    <dgm:pt modelId="{462A7246-ED9F-4851-A799-3417CFAA44B7}" type="pres">
      <dgm:prSet presAssocID="{4EAA203E-71EB-457E-863A-619114D372D8}" presName="dstNode" presStyleLbl="node1" presStyleIdx="0" presStyleCnt="3"/>
      <dgm:spPr/>
    </dgm:pt>
    <dgm:pt modelId="{DF107CCF-C260-4F8C-BE23-591318A5A4FE}" type="pres">
      <dgm:prSet presAssocID="{54D81249-92E7-4FA0-9F20-10ED892FAA84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79C8896-67DB-4FB8-9E51-E65C5107E8D4}" type="pres">
      <dgm:prSet presAssocID="{54D81249-92E7-4FA0-9F20-10ED892FAA84}" presName="accent_1" presStyleCnt="0"/>
      <dgm:spPr/>
    </dgm:pt>
    <dgm:pt modelId="{8FC9E06E-0894-43E6-AA16-4520CF651729}" type="pres">
      <dgm:prSet presAssocID="{54D81249-92E7-4FA0-9F20-10ED892FAA84}" presName="accentRepeatNode" presStyleLbl="solidFgAcc1" presStyleIdx="0" presStyleCnt="3"/>
      <dgm:spPr/>
    </dgm:pt>
    <dgm:pt modelId="{EBB9A6B0-A80F-4B27-B445-820391651F58}" type="pres">
      <dgm:prSet presAssocID="{FA5D77CD-848E-47A1-ADEE-96CDA86E678E}" presName="text_2" presStyleLbl="node1" presStyleIdx="1" presStyleCnt="3" custLinFactNeighborY="-343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B818CDF-66CB-4535-9B9E-A608338D31F6}" type="pres">
      <dgm:prSet presAssocID="{FA5D77CD-848E-47A1-ADEE-96CDA86E678E}" presName="accent_2" presStyleCnt="0"/>
      <dgm:spPr/>
    </dgm:pt>
    <dgm:pt modelId="{D54A91AC-CE11-4BC9-AE39-2B60EFB7D2E0}" type="pres">
      <dgm:prSet presAssocID="{FA5D77CD-848E-47A1-ADEE-96CDA86E678E}" presName="accentRepeatNode" presStyleLbl="solidFgAcc1" presStyleIdx="1" presStyleCnt="3"/>
      <dgm:spPr/>
    </dgm:pt>
    <dgm:pt modelId="{A53430E6-5ACB-4086-8934-E7F01097D7FB}" type="pres">
      <dgm:prSet presAssocID="{115CA0ED-DC71-47EE-9B26-59E90DCF5754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00FEFDB-FAAE-4535-B747-3AD3ADDE8ACF}" type="pres">
      <dgm:prSet presAssocID="{115CA0ED-DC71-47EE-9B26-59E90DCF5754}" presName="accent_3" presStyleCnt="0"/>
      <dgm:spPr/>
    </dgm:pt>
    <dgm:pt modelId="{0D70DDED-356A-4BAA-A837-83C2B435772D}" type="pres">
      <dgm:prSet presAssocID="{115CA0ED-DC71-47EE-9B26-59E90DCF5754}" presName="accentRepeatNode" presStyleLbl="solidFgAcc1" presStyleIdx="2" presStyleCnt="3"/>
      <dgm:spPr/>
    </dgm:pt>
  </dgm:ptLst>
  <dgm:cxnLst>
    <dgm:cxn modelId="{CFFB3217-558F-49F6-BD6B-CD29A9F22EDC}" type="presOf" srcId="{54D81249-92E7-4FA0-9F20-10ED892FAA84}" destId="{DF107CCF-C260-4F8C-BE23-591318A5A4FE}" srcOrd="0" destOrd="0" presId="urn:microsoft.com/office/officeart/2008/layout/VerticalCurvedList"/>
    <dgm:cxn modelId="{4BB48AA5-BF8F-4963-8B36-139A356C4CF4}" srcId="{4EAA203E-71EB-457E-863A-619114D372D8}" destId="{115CA0ED-DC71-47EE-9B26-59E90DCF5754}" srcOrd="2" destOrd="0" parTransId="{D4092E61-942E-42D4-994F-105080709315}" sibTransId="{AF6D4395-537E-462B-A6ED-CC4EA248428D}"/>
    <dgm:cxn modelId="{41462DD6-4264-4898-AD32-F4AFF4134056}" type="presOf" srcId="{1F414364-D3F0-44AB-BC20-06189E4A5DFE}" destId="{6D8246F0-50F8-4563-AA81-FB3B18A90957}" srcOrd="0" destOrd="0" presId="urn:microsoft.com/office/officeart/2008/layout/VerticalCurvedList"/>
    <dgm:cxn modelId="{24B5F168-E081-4775-B5A3-EB6312AA5EB8}" srcId="{4EAA203E-71EB-457E-863A-619114D372D8}" destId="{54D81249-92E7-4FA0-9F20-10ED892FAA84}" srcOrd="0" destOrd="0" parTransId="{52ABDD74-A5AC-4D43-8A0B-7D182F46593C}" sibTransId="{1F414364-D3F0-44AB-BC20-06189E4A5DFE}"/>
    <dgm:cxn modelId="{2586CA0B-8F5A-4A04-9080-476D2445662F}" srcId="{4EAA203E-71EB-457E-863A-619114D372D8}" destId="{FA5D77CD-848E-47A1-ADEE-96CDA86E678E}" srcOrd="1" destOrd="0" parTransId="{B2E073D5-B761-4690-A85B-09066D0BBB16}" sibTransId="{41BAAA3C-6A8E-4754-8652-873FD025AE9C}"/>
    <dgm:cxn modelId="{4FF094CB-AA4A-4AB1-B608-08877A373914}" type="presOf" srcId="{115CA0ED-DC71-47EE-9B26-59E90DCF5754}" destId="{A53430E6-5ACB-4086-8934-E7F01097D7FB}" srcOrd="0" destOrd="0" presId="urn:microsoft.com/office/officeart/2008/layout/VerticalCurvedList"/>
    <dgm:cxn modelId="{3FB130D6-39B4-4C13-871F-BE9124FF25E5}" type="presOf" srcId="{4EAA203E-71EB-457E-863A-619114D372D8}" destId="{E58266AA-977E-4B72-B4FE-4E76121E5DCB}" srcOrd="0" destOrd="0" presId="urn:microsoft.com/office/officeart/2008/layout/VerticalCurvedList"/>
    <dgm:cxn modelId="{7BEBBBC2-1FF4-40A7-89F7-60C5DB3ECC65}" type="presOf" srcId="{FA5D77CD-848E-47A1-ADEE-96CDA86E678E}" destId="{EBB9A6B0-A80F-4B27-B445-820391651F58}" srcOrd="0" destOrd="0" presId="urn:microsoft.com/office/officeart/2008/layout/VerticalCurvedList"/>
    <dgm:cxn modelId="{F7BCE580-D201-4375-B3B0-24261DC05231}" type="presParOf" srcId="{E58266AA-977E-4B72-B4FE-4E76121E5DCB}" destId="{1476E8F0-4537-4D08-8FB0-94AF28DA3799}" srcOrd="0" destOrd="0" presId="urn:microsoft.com/office/officeart/2008/layout/VerticalCurvedList"/>
    <dgm:cxn modelId="{450895D6-0F3B-45FA-8AAF-3A4FDFDAD2CA}" type="presParOf" srcId="{1476E8F0-4537-4D08-8FB0-94AF28DA3799}" destId="{95C692BF-A148-460C-9FC6-047EE460D27C}" srcOrd="0" destOrd="0" presId="urn:microsoft.com/office/officeart/2008/layout/VerticalCurvedList"/>
    <dgm:cxn modelId="{66833AC7-5CD8-4E98-B38D-2FE01315947A}" type="presParOf" srcId="{95C692BF-A148-460C-9FC6-047EE460D27C}" destId="{AAE1E35F-A164-43DC-90B8-3C76894E35A9}" srcOrd="0" destOrd="0" presId="urn:microsoft.com/office/officeart/2008/layout/VerticalCurvedList"/>
    <dgm:cxn modelId="{41F5AFCA-BF40-467D-9AA8-CD1A742798B7}" type="presParOf" srcId="{95C692BF-A148-460C-9FC6-047EE460D27C}" destId="{6D8246F0-50F8-4563-AA81-FB3B18A90957}" srcOrd="1" destOrd="0" presId="urn:microsoft.com/office/officeart/2008/layout/VerticalCurvedList"/>
    <dgm:cxn modelId="{DB11DBD0-E979-4986-B57B-AD8885ED8D6E}" type="presParOf" srcId="{95C692BF-A148-460C-9FC6-047EE460D27C}" destId="{6498B903-3810-49E8-9868-F6850A932BEA}" srcOrd="2" destOrd="0" presId="urn:microsoft.com/office/officeart/2008/layout/VerticalCurvedList"/>
    <dgm:cxn modelId="{44C674A3-6D1B-46A7-9846-7D8C5C7EFC74}" type="presParOf" srcId="{95C692BF-A148-460C-9FC6-047EE460D27C}" destId="{462A7246-ED9F-4851-A799-3417CFAA44B7}" srcOrd="3" destOrd="0" presId="urn:microsoft.com/office/officeart/2008/layout/VerticalCurvedList"/>
    <dgm:cxn modelId="{4AB71CC6-B3B8-431F-ACA1-F19DB72348B0}" type="presParOf" srcId="{1476E8F0-4537-4D08-8FB0-94AF28DA3799}" destId="{DF107CCF-C260-4F8C-BE23-591318A5A4FE}" srcOrd="1" destOrd="0" presId="urn:microsoft.com/office/officeart/2008/layout/VerticalCurvedList"/>
    <dgm:cxn modelId="{8FF76E02-F0F8-424A-8952-67ACA10C6E78}" type="presParOf" srcId="{1476E8F0-4537-4D08-8FB0-94AF28DA3799}" destId="{879C8896-67DB-4FB8-9E51-E65C5107E8D4}" srcOrd="2" destOrd="0" presId="urn:microsoft.com/office/officeart/2008/layout/VerticalCurvedList"/>
    <dgm:cxn modelId="{23EA43D6-6394-4B1B-8178-AC87A0690F10}" type="presParOf" srcId="{879C8896-67DB-4FB8-9E51-E65C5107E8D4}" destId="{8FC9E06E-0894-43E6-AA16-4520CF651729}" srcOrd="0" destOrd="0" presId="urn:microsoft.com/office/officeart/2008/layout/VerticalCurvedList"/>
    <dgm:cxn modelId="{2A2739F5-AB2A-419E-930B-0787E7ED822A}" type="presParOf" srcId="{1476E8F0-4537-4D08-8FB0-94AF28DA3799}" destId="{EBB9A6B0-A80F-4B27-B445-820391651F58}" srcOrd="3" destOrd="0" presId="urn:microsoft.com/office/officeart/2008/layout/VerticalCurvedList"/>
    <dgm:cxn modelId="{DB93861E-FFD4-4BA6-A82A-99AC0D3F0311}" type="presParOf" srcId="{1476E8F0-4537-4D08-8FB0-94AF28DA3799}" destId="{3B818CDF-66CB-4535-9B9E-A608338D31F6}" srcOrd="4" destOrd="0" presId="urn:microsoft.com/office/officeart/2008/layout/VerticalCurvedList"/>
    <dgm:cxn modelId="{C790623E-976C-4717-898C-512B3DFB2E27}" type="presParOf" srcId="{3B818CDF-66CB-4535-9B9E-A608338D31F6}" destId="{D54A91AC-CE11-4BC9-AE39-2B60EFB7D2E0}" srcOrd="0" destOrd="0" presId="urn:microsoft.com/office/officeart/2008/layout/VerticalCurvedList"/>
    <dgm:cxn modelId="{C305BB52-FC10-4566-99AC-436613CD6D93}" type="presParOf" srcId="{1476E8F0-4537-4D08-8FB0-94AF28DA3799}" destId="{A53430E6-5ACB-4086-8934-E7F01097D7FB}" srcOrd="5" destOrd="0" presId="urn:microsoft.com/office/officeart/2008/layout/VerticalCurvedList"/>
    <dgm:cxn modelId="{095674C9-0180-4CB1-A974-08A959734117}" type="presParOf" srcId="{1476E8F0-4537-4D08-8FB0-94AF28DA3799}" destId="{800FEFDB-FAAE-4535-B747-3AD3ADDE8ACF}" srcOrd="6" destOrd="0" presId="urn:microsoft.com/office/officeart/2008/layout/VerticalCurvedList"/>
    <dgm:cxn modelId="{74196DF1-9C08-4977-8FD8-6808E6FF129D}" type="presParOf" srcId="{800FEFDB-FAAE-4535-B747-3AD3ADDE8ACF}" destId="{0D70DDED-356A-4BAA-A837-83C2B435772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B6FDD5E-4781-4F32-A551-AE6B5E6DCD8B}" type="doc">
      <dgm:prSet loTypeId="urn:microsoft.com/office/officeart/2005/8/layout/equation2" loCatId="relationship" qsTypeId="urn:microsoft.com/office/officeart/2005/8/quickstyle/simple5" qsCatId="simple" csTypeId="urn:microsoft.com/office/officeart/2005/8/colors/accent1_3" csCatId="accent1" phldr="1"/>
      <dgm:spPr/>
    </dgm:pt>
    <dgm:pt modelId="{60F4E09D-0CE7-4EE0-884A-113C8FB3E4B7}">
      <dgm:prSet phldrT="[Texto]"/>
      <dgm:spPr/>
      <dgm:t>
        <a:bodyPr/>
        <a:lstStyle/>
        <a:p>
          <a:r>
            <a:rPr lang="es-ES" b="1" u="none" dirty="0" smtClean="0">
              <a:latin typeface="Calibri" pitchFamily="34" charset="0"/>
              <a:cs typeface="Calibri" pitchFamily="34" charset="0"/>
            </a:rPr>
            <a:t>D + I + C </a:t>
          </a:r>
          <a:endParaRPr lang="es-ES" u="none" dirty="0"/>
        </a:p>
      </dgm:t>
    </dgm:pt>
    <dgm:pt modelId="{706AD887-86FA-44C7-BC5F-4005E4751C68}" type="parTrans" cxnId="{24B23B29-4D2B-4F1F-AE91-C13E7D31C523}">
      <dgm:prSet/>
      <dgm:spPr/>
      <dgm:t>
        <a:bodyPr/>
        <a:lstStyle/>
        <a:p>
          <a:endParaRPr lang="es-ES"/>
        </a:p>
      </dgm:t>
    </dgm:pt>
    <dgm:pt modelId="{F6B27593-353D-41F4-A2D3-2EE6069424DA}" type="sibTrans" cxnId="{24B23B29-4D2B-4F1F-AE91-C13E7D31C523}">
      <dgm:prSet/>
      <dgm:spPr/>
      <dgm:t>
        <a:bodyPr/>
        <a:lstStyle/>
        <a:p>
          <a:endParaRPr lang="es-ES"/>
        </a:p>
      </dgm:t>
    </dgm:pt>
    <dgm:pt modelId="{F4084DE0-2AD8-4EDB-B79D-5F6B7455A901}">
      <dgm:prSet phldrT="[Texto]"/>
      <dgm:spPr/>
      <dgm:t>
        <a:bodyPr/>
        <a:lstStyle/>
        <a:p>
          <a:r>
            <a:rPr lang="es-ES" dirty="0" smtClean="0"/>
            <a:t>3</a:t>
          </a:r>
          <a:endParaRPr lang="es-ES" dirty="0"/>
        </a:p>
      </dgm:t>
    </dgm:pt>
    <dgm:pt modelId="{A42FAA3A-8919-4D0D-8D89-D69DC4C3ACAA}" type="parTrans" cxnId="{4FA46836-89F0-4DA2-8E57-4EC483F92771}">
      <dgm:prSet/>
      <dgm:spPr/>
      <dgm:t>
        <a:bodyPr/>
        <a:lstStyle/>
        <a:p>
          <a:endParaRPr lang="es-ES"/>
        </a:p>
      </dgm:t>
    </dgm:pt>
    <dgm:pt modelId="{96C453A8-2524-43EA-8862-C131DF13D23E}" type="sibTrans" cxnId="{4FA46836-89F0-4DA2-8E57-4EC483F92771}">
      <dgm:prSet/>
      <dgm:spPr/>
      <dgm:t>
        <a:bodyPr/>
        <a:lstStyle/>
        <a:p>
          <a:endParaRPr lang="es-ES"/>
        </a:p>
      </dgm:t>
    </dgm:pt>
    <dgm:pt modelId="{D25FE8F3-0E5F-4727-BBBD-8A0D3AC9E540}">
      <dgm:prSet phldrT="[Texto]"/>
      <dgm:spPr/>
      <dgm:t>
        <a:bodyPr/>
        <a:lstStyle/>
        <a:p>
          <a:r>
            <a:rPr lang="es-ES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VALOR</a:t>
          </a:r>
        </a:p>
        <a:p>
          <a:r>
            <a:rPr lang="es-ES" b="1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ACTIVO</a:t>
          </a:r>
          <a:endParaRPr lang="es-ES" dirty="0"/>
        </a:p>
      </dgm:t>
    </dgm:pt>
    <dgm:pt modelId="{5551EBDC-C429-459F-99C8-502DCB8B1171}" type="parTrans" cxnId="{1CB59550-C79A-4834-BA9C-FF07FD4EC341}">
      <dgm:prSet/>
      <dgm:spPr/>
      <dgm:t>
        <a:bodyPr/>
        <a:lstStyle/>
        <a:p>
          <a:endParaRPr lang="es-ES"/>
        </a:p>
      </dgm:t>
    </dgm:pt>
    <dgm:pt modelId="{F0432529-6D6E-439B-B1F7-D235F0E26DD8}" type="sibTrans" cxnId="{1CB59550-C79A-4834-BA9C-FF07FD4EC341}">
      <dgm:prSet/>
      <dgm:spPr/>
      <dgm:t>
        <a:bodyPr/>
        <a:lstStyle/>
        <a:p>
          <a:endParaRPr lang="es-ES"/>
        </a:p>
      </dgm:t>
    </dgm:pt>
    <dgm:pt modelId="{61086A2F-8171-417B-8D9A-8009D4DFA5FE}" type="pres">
      <dgm:prSet presAssocID="{7B6FDD5E-4781-4F32-A551-AE6B5E6DCD8B}" presName="Name0" presStyleCnt="0">
        <dgm:presLayoutVars>
          <dgm:dir/>
          <dgm:resizeHandles val="exact"/>
        </dgm:presLayoutVars>
      </dgm:prSet>
      <dgm:spPr/>
    </dgm:pt>
    <dgm:pt modelId="{C244CD4B-DFEB-4932-9096-03967250AFE8}" type="pres">
      <dgm:prSet presAssocID="{7B6FDD5E-4781-4F32-A551-AE6B5E6DCD8B}" presName="vNodes" presStyleCnt="0"/>
      <dgm:spPr/>
    </dgm:pt>
    <dgm:pt modelId="{7FB7F542-D7EC-43C8-9C12-1F977E2548EB}" type="pres">
      <dgm:prSet presAssocID="{60F4E09D-0CE7-4EE0-884A-113C8FB3E4B7}" presName="node" presStyleLbl="node1" presStyleIdx="0" presStyleCnt="3" custScaleX="16275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B057BF4-D78D-4F3D-8E8B-D66257C7EFD0}" type="pres">
      <dgm:prSet presAssocID="{F6B27593-353D-41F4-A2D3-2EE6069424DA}" presName="spacerT" presStyleCnt="0"/>
      <dgm:spPr/>
    </dgm:pt>
    <dgm:pt modelId="{48F58790-EC7A-42D9-9661-6283CED3B395}" type="pres">
      <dgm:prSet presAssocID="{F6B27593-353D-41F4-A2D3-2EE6069424DA}" presName="sibTrans" presStyleLbl="sibTrans2D1" presStyleIdx="0" presStyleCnt="2" custFlipVert="1" custScaleX="284329" custScaleY="13762"/>
      <dgm:spPr>
        <a:prstGeom prst="rect">
          <a:avLst/>
        </a:prstGeom>
      </dgm:spPr>
      <dgm:t>
        <a:bodyPr/>
        <a:lstStyle/>
        <a:p>
          <a:endParaRPr lang="es-ES"/>
        </a:p>
      </dgm:t>
    </dgm:pt>
    <dgm:pt modelId="{B35203D5-B30C-46C3-88D4-60B03239134B}" type="pres">
      <dgm:prSet presAssocID="{F6B27593-353D-41F4-A2D3-2EE6069424DA}" presName="spacerB" presStyleCnt="0"/>
      <dgm:spPr/>
    </dgm:pt>
    <dgm:pt modelId="{8DC018C4-0C8B-468E-9A08-570F5B9B0CA6}" type="pres">
      <dgm:prSet presAssocID="{F4084DE0-2AD8-4EDB-B79D-5F6B7455A901}" presName="node" presStyleLbl="node1" presStyleIdx="1" presStyleCnt="3" custScaleX="76597" custScaleY="5044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0811653-E66D-4851-9EE3-DF71E24B35A2}" type="pres">
      <dgm:prSet presAssocID="{7B6FDD5E-4781-4F32-A551-AE6B5E6DCD8B}" presName="sibTransLast" presStyleLbl="sibTrans2D1" presStyleIdx="1" presStyleCnt="2" custAng="21129104" custLinFactNeighborY="35760"/>
      <dgm:spPr>
        <a:prstGeom prst="mathEqual">
          <a:avLst/>
        </a:prstGeom>
      </dgm:spPr>
      <dgm:t>
        <a:bodyPr/>
        <a:lstStyle/>
        <a:p>
          <a:endParaRPr lang="es-ES"/>
        </a:p>
      </dgm:t>
    </dgm:pt>
    <dgm:pt modelId="{98AE5F2D-6741-44D0-B75C-D40B62516BE6}" type="pres">
      <dgm:prSet presAssocID="{7B6FDD5E-4781-4F32-A551-AE6B5E6DCD8B}" presName="connectorText" presStyleLbl="sibTrans2D1" presStyleIdx="1" presStyleCnt="2"/>
      <dgm:spPr/>
      <dgm:t>
        <a:bodyPr/>
        <a:lstStyle/>
        <a:p>
          <a:endParaRPr lang="es-ES"/>
        </a:p>
      </dgm:t>
    </dgm:pt>
    <dgm:pt modelId="{61B153DF-D8FA-4227-A957-1C31D2FB8672}" type="pres">
      <dgm:prSet presAssocID="{7B6FDD5E-4781-4F32-A551-AE6B5E6DCD8B}" presName="lastNode" presStyleLbl="node1" presStyleIdx="2" presStyleCnt="3" custScaleX="88451" custScaleY="74930" custLinFactNeighborY="998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B8E67059-5BA9-48F0-8143-F89EB9DBE1DA}" type="presOf" srcId="{96C453A8-2524-43EA-8862-C131DF13D23E}" destId="{80811653-E66D-4851-9EE3-DF71E24B35A2}" srcOrd="0" destOrd="0" presId="urn:microsoft.com/office/officeart/2005/8/layout/equation2"/>
    <dgm:cxn modelId="{C4406C9A-CDB6-48F7-AFC5-76E3D32586CC}" type="presOf" srcId="{96C453A8-2524-43EA-8862-C131DF13D23E}" destId="{98AE5F2D-6741-44D0-B75C-D40B62516BE6}" srcOrd="1" destOrd="0" presId="urn:microsoft.com/office/officeart/2005/8/layout/equation2"/>
    <dgm:cxn modelId="{24B23B29-4D2B-4F1F-AE91-C13E7D31C523}" srcId="{7B6FDD5E-4781-4F32-A551-AE6B5E6DCD8B}" destId="{60F4E09D-0CE7-4EE0-884A-113C8FB3E4B7}" srcOrd="0" destOrd="0" parTransId="{706AD887-86FA-44C7-BC5F-4005E4751C68}" sibTransId="{F6B27593-353D-41F4-A2D3-2EE6069424DA}"/>
    <dgm:cxn modelId="{3BEF0C95-0D72-4291-9DBE-F29CC512090F}" type="presOf" srcId="{D25FE8F3-0E5F-4727-BBBD-8A0D3AC9E540}" destId="{61B153DF-D8FA-4227-A957-1C31D2FB8672}" srcOrd="0" destOrd="0" presId="urn:microsoft.com/office/officeart/2005/8/layout/equation2"/>
    <dgm:cxn modelId="{A5A265C4-F551-4BAF-A520-04C9E0FF9047}" type="presOf" srcId="{F4084DE0-2AD8-4EDB-B79D-5F6B7455A901}" destId="{8DC018C4-0C8B-468E-9A08-570F5B9B0CA6}" srcOrd="0" destOrd="0" presId="urn:microsoft.com/office/officeart/2005/8/layout/equation2"/>
    <dgm:cxn modelId="{3668C685-FB10-4B29-B656-5DB11E92382A}" type="presOf" srcId="{F6B27593-353D-41F4-A2D3-2EE6069424DA}" destId="{48F58790-EC7A-42D9-9661-6283CED3B395}" srcOrd="0" destOrd="0" presId="urn:microsoft.com/office/officeart/2005/8/layout/equation2"/>
    <dgm:cxn modelId="{1CB59550-C79A-4834-BA9C-FF07FD4EC341}" srcId="{7B6FDD5E-4781-4F32-A551-AE6B5E6DCD8B}" destId="{D25FE8F3-0E5F-4727-BBBD-8A0D3AC9E540}" srcOrd="2" destOrd="0" parTransId="{5551EBDC-C429-459F-99C8-502DCB8B1171}" sibTransId="{F0432529-6D6E-439B-B1F7-D235F0E26DD8}"/>
    <dgm:cxn modelId="{EBA63690-CD25-4058-9987-74A9B7793907}" type="presOf" srcId="{7B6FDD5E-4781-4F32-A551-AE6B5E6DCD8B}" destId="{61086A2F-8171-417B-8D9A-8009D4DFA5FE}" srcOrd="0" destOrd="0" presId="urn:microsoft.com/office/officeart/2005/8/layout/equation2"/>
    <dgm:cxn modelId="{06D4965F-3114-4C8A-B8CA-205CB2D7896B}" type="presOf" srcId="{60F4E09D-0CE7-4EE0-884A-113C8FB3E4B7}" destId="{7FB7F542-D7EC-43C8-9C12-1F977E2548EB}" srcOrd="0" destOrd="0" presId="urn:microsoft.com/office/officeart/2005/8/layout/equation2"/>
    <dgm:cxn modelId="{4FA46836-89F0-4DA2-8E57-4EC483F92771}" srcId="{7B6FDD5E-4781-4F32-A551-AE6B5E6DCD8B}" destId="{F4084DE0-2AD8-4EDB-B79D-5F6B7455A901}" srcOrd="1" destOrd="0" parTransId="{A42FAA3A-8919-4D0D-8D89-D69DC4C3ACAA}" sibTransId="{96C453A8-2524-43EA-8862-C131DF13D23E}"/>
    <dgm:cxn modelId="{593737DC-7CD9-4B26-8886-3C2EB8F71663}" type="presParOf" srcId="{61086A2F-8171-417B-8D9A-8009D4DFA5FE}" destId="{C244CD4B-DFEB-4932-9096-03967250AFE8}" srcOrd="0" destOrd="0" presId="urn:microsoft.com/office/officeart/2005/8/layout/equation2"/>
    <dgm:cxn modelId="{EC7E845D-2373-41EA-8E27-8770C78BFAA4}" type="presParOf" srcId="{C244CD4B-DFEB-4932-9096-03967250AFE8}" destId="{7FB7F542-D7EC-43C8-9C12-1F977E2548EB}" srcOrd="0" destOrd="0" presId="urn:microsoft.com/office/officeart/2005/8/layout/equation2"/>
    <dgm:cxn modelId="{4416EDEC-6BFD-4F00-86BE-4C700731376C}" type="presParOf" srcId="{C244CD4B-DFEB-4932-9096-03967250AFE8}" destId="{CB057BF4-D78D-4F3D-8E8B-D66257C7EFD0}" srcOrd="1" destOrd="0" presId="urn:microsoft.com/office/officeart/2005/8/layout/equation2"/>
    <dgm:cxn modelId="{C18EBAE2-434E-47A2-9F8A-81CD8D62991C}" type="presParOf" srcId="{C244CD4B-DFEB-4932-9096-03967250AFE8}" destId="{48F58790-EC7A-42D9-9661-6283CED3B395}" srcOrd="2" destOrd="0" presId="urn:microsoft.com/office/officeart/2005/8/layout/equation2"/>
    <dgm:cxn modelId="{B8FDF46F-B8A3-4705-A70A-3F8632BB61B7}" type="presParOf" srcId="{C244CD4B-DFEB-4932-9096-03967250AFE8}" destId="{B35203D5-B30C-46C3-88D4-60B03239134B}" srcOrd="3" destOrd="0" presId="urn:microsoft.com/office/officeart/2005/8/layout/equation2"/>
    <dgm:cxn modelId="{6872DA35-3347-4297-9B64-A53103B5F4F3}" type="presParOf" srcId="{C244CD4B-DFEB-4932-9096-03967250AFE8}" destId="{8DC018C4-0C8B-468E-9A08-570F5B9B0CA6}" srcOrd="4" destOrd="0" presId="urn:microsoft.com/office/officeart/2005/8/layout/equation2"/>
    <dgm:cxn modelId="{75FEC6F7-0F99-49D7-95C6-E71036D176E8}" type="presParOf" srcId="{61086A2F-8171-417B-8D9A-8009D4DFA5FE}" destId="{80811653-E66D-4851-9EE3-DF71E24B35A2}" srcOrd="1" destOrd="0" presId="urn:microsoft.com/office/officeart/2005/8/layout/equation2"/>
    <dgm:cxn modelId="{88BAC2CE-A0FE-4655-8E22-9339407A1CA5}" type="presParOf" srcId="{80811653-E66D-4851-9EE3-DF71E24B35A2}" destId="{98AE5F2D-6741-44D0-B75C-D40B62516BE6}" srcOrd="0" destOrd="0" presId="urn:microsoft.com/office/officeart/2005/8/layout/equation2"/>
    <dgm:cxn modelId="{00B80041-47E7-4314-8815-2E9EAE8FC71D}" type="presParOf" srcId="{61086A2F-8171-417B-8D9A-8009D4DFA5FE}" destId="{61B153DF-D8FA-4227-A957-1C31D2FB8672}" srcOrd="2" destOrd="0" presId="urn:microsoft.com/office/officeart/2005/8/layout/equation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E38019B-8F8D-4730-9E22-71FC2475B430}" type="doc">
      <dgm:prSet loTypeId="urn:microsoft.com/office/officeart/2005/8/layout/hList3" loCatId="list" qsTypeId="urn:microsoft.com/office/officeart/2005/8/quickstyle/simple5" qsCatId="simple" csTypeId="urn:microsoft.com/office/officeart/2005/8/colors/accent1_5" csCatId="accent1" phldr="1"/>
      <dgm:spPr/>
      <dgm:t>
        <a:bodyPr/>
        <a:lstStyle/>
        <a:p>
          <a:endParaRPr lang="es-ES"/>
        </a:p>
      </dgm:t>
    </dgm:pt>
    <dgm:pt modelId="{CAA6E643-E8B6-4079-85C6-F18CBC949650}">
      <dgm:prSet phldrT="[Texto]" custT="1"/>
      <dgm:spPr/>
      <dgm:t>
        <a:bodyPr/>
        <a:lstStyle/>
        <a:p>
          <a:r>
            <a:rPr lang="es-EC" sz="2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Información / Datos</a:t>
          </a:r>
          <a:endParaRPr lang="es-ES" sz="2400" dirty="0">
            <a:latin typeface="Calibri" pitchFamily="34" charset="0"/>
            <a:cs typeface="Calibri" pitchFamily="34" charset="0"/>
          </a:endParaRPr>
        </a:p>
      </dgm:t>
    </dgm:pt>
    <dgm:pt modelId="{DE696BCD-A9A6-4E4E-AA6A-529E0A64AEBB}" type="parTrans" cxnId="{6023DBF5-88E3-4D24-B625-5429BB6EE7C6}">
      <dgm:prSet/>
      <dgm:spPr/>
      <dgm:t>
        <a:bodyPr/>
        <a:lstStyle/>
        <a:p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D5E27DC8-CFFE-4B02-B5A7-AF6087F5D83C}" type="sibTrans" cxnId="{6023DBF5-88E3-4D24-B625-5429BB6EE7C6}">
      <dgm:prSet/>
      <dgm:spPr/>
      <dgm:t>
        <a:bodyPr/>
        <a:lstStyle/>
        <a:p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A18BE61D-7C92-4BF4-8F01-EFA63BF0B30C}">
      <dgm:prSet phldrT="[Texto]" custT="1"/>
      <dgm:spPr/>
      <dgm:t>
        <a:bodyPr/>
        <a:lstStyle/>
        <a:p>
          <a:pPr algn="just"/>
          <a:r>
            <a:rPr lang="es-EC" sz="2000" b="1" dirty="0" smtClean="0">
              <a:latin typeface="Calibri" pitchFamily="34" charset="0"/>
              <a:cs typeface="Calibri" pitchFamily="34" charset="0"/>
            </a:rPr>
            <a:t>[E.5] </a:t>
          </a:r>
          <a:r>
            <a:rPr lang="es-EC" sz="2000" dirty="0" smtClean="0">
              <a:latin typeface="Calibri" pitchFamily="34" charset="0"/>
              <a:cs typeface="Calibri" pitchFamily="34" charset="0"/>
            </a:rPr>
            <a:t>Difusión de software dañino.</a:t>
          </a:r>
        </a:p>
        <a:p>
          <a:pPr algn="just"/>
          <a:r>
            <a:rPr lang="es-EC" sz="2000" b="1" dirty="0" smtClean="0">
              <a:latin typeface="Calibri" pitchFamily="34" charset="0"/>
              <a:cs typeface="Calibri" pitchFamily="34" charset="0"/>
            </a:rPr>
            <a:t>[I.6] </a:t>
          </a:r>
          <a:r>
            <a:rPr lang="es-EC" sz="2000" dirty="0" smtClean="0">
              <a:latin typeface="Calibri" pitchFamily="34" charset="0"/>
              <a:cs typeface="Calibri" pitchFamily="34" charset="0"/>
            </a:rPr>
            <a:t>Introducción de información incorrecta.</a:t>
          </a:r>
          <a:endParaRPr lang="es-ES" sz="2000" dirty="0">
            <a:latin typeface="Calibri" pitchFamily="34" charset="0"/>
            <a:cs typeface="Calibri" pitchFamily="34" charset="0"/>
          </a:endParaRPr>
        </a:p>
      </dgm:t>
    </dgm:pt>
    <dgm:pt modelId="{5A9A1077-749A-4D90-8659-A2FA41D48EDF}" type="parTrans" cxnId="{75AE3152-B9D5-4B58-9A49-2915A3CE7C1B}">
      <dgm:prSet/>
      <dgm:spPr/>
      <dgm:t>
        <a:bodyPr/>
        <a:lstStyle/>
        <a:p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0936946A-406B-41EF-89BA-5D55A7868098}" type="sibTrans" cxnId="{75AE3152-B9D5-4B58-9A49-2915A3CE7C1B}">
      <dgm:prSet/>
      <dgm:spPr/>
      <dgm:t>
        <a:bodyPr/>
        <a:lstStyle/>
        <a:p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FCA0D8D5-1FCB-4B77-BD07-5EC9DA470E33}">
      <dgm:prSet phldrT="[Texto]" custT="1"/>
      <dgm:spPr/>
      <dgm:t>
        <a:bodyPr/>
        <a:lstStyle/>
        <a:p>
          <a:pPr algn="just"/>
          <a:endParaRPr lang="es-EC" sz="2000" dirty="0" smtClean="0">
            <a:latin typeface="Calibri" pitchFamily="34" charset="0"/>
            <a:cs typeface="Calibri" pitchFamily="34" charset="0"/>
          </a:endParaRPr>
        </a:p>
        <a:p>
          <a:pPr algn="l"/>
          <a:r>
            <a:rPr lang="es-EC" sz="2000" b="0" dirty="0" smtClean="0">
              <a:latin typeface="Calibri" pitchFamily="34" charset="0"/>
              <a:cs typeface="Calibri" pitchFamily="34" charset="0"/>
            </a:rPr>
            <a:t>Falta de Protección Anti-Virus actualizada.</a:t>
          </a:r>
        </a:p>
        <a:p>
          <a:pPr algn="l"/>
          <a:r>
            <a:rPr lang="es-EC" sz="2000" b="0" dirty="0" smtClean="0">
              <a:latin typeface="Calibri" pitchFamily="34" charset="0"/>
              <a:cs typeface="Calibri" pitchFamily="34" charset="0"/>
            </a:rPr>
            <a:t>Falta de conocimiento para el uso de la aplicación.</a:t>
          </a:r>
        </a:p>
        <a:p>
          <a:pPr algn="just"/>
          <a:endParaRPr lang="es-ES" sz="2000" dirty="0" smtClean="0">
            <a:latin typeface="Calibri" pitchFamily="34" charset="0"/>
            <a:cs typeface="Calibri" pitchFamily="34" charset="0"/>
          </a:endParaRPr>
        </a:p>
      </dgm:t>
    </dgm:pt>
    <dgm:pt modelId="{2212B472-E7F6-403E-BFB6-E23E73743414}" type="sibTrans" cxnId="{6BE8F03D-AA92-4400-A594-712D0C94624B}">
      <dgm:prSet/>
      <dgm:spPr/>
      <dgm:t>
        <a:bodyPr/>
        <a:lstStyle/>
        <a:p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98D7BDDD-7B4B-4909-9D08-2A5519F2DCD2}" type="parTrans" cxnId="{6BE8F03D-AA92-4400-A594-712D0C94624B}">
      <dgm:prSet/>
      <dgm:spPr/>
      <dgm:t>
        <a:bodyPr/>
        <a:lstStyle/>
        <a:p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F0ABB57C-B804-4CCF-BBE4-AD9182D9B980}" type="pres">
      <dgm:prSet presAssocID="{FE38019B-8F8D-4730-9E22-71FC2475B430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27D95F0F-B9A8-458D-A090-FBD444019853}" type="pres">
      <dgm:prSet presAssocID="{CAA6E643-E8B6-4079-85C6-F18CBC949650}" presName="roof" presStyleLbl="dkBgShp" presStyleIdx="0" presStyleCnt="2" custScaleY="57240"/>
      <dgm:spPr/>
      <dgm:t>
        <a:bodyPr/>
        <a:lstStyle/>
        <a:p>
          <a:endParaRPr lang="es-ES"/>
        </a:p>
      </dgm:t>
    </dgm:pt>
    <dgm:pt modelId="{BE0A7113-D7F2-48CB-8DAB-D38B289F0C46}" type="pres">
      <dgm:prSet presAssocID="{CAA6E643-E8B6-4079-85C6-F18CBC949650}" presName="pillars" presStyleCnt="0"/>
      <dgm:spPr/>
      <dgm:t>
        <a:bodyPr/>
        <a:lstStyle/>
        <a:p>
          <a:endParaRPr lang="es-ES"/>
        </a:p>
      </dgm:t>
    </dgm:pt>
    <dgm:pt modelId="{6586C1EF-41DD-4910-9667-F16D965AB71E}" type="pres">
      <dgm:prSet presAssocID="{CAA6E643-E8B6-4079-85C6-F18CBC949650}" presName="pillar1" presStyleLbl="node1" presStyleIdx="0" presStyleCnt="2" custScaleX="84451" custLinFactNeighborX="224" custLinFactNeighborY="-970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239B5A3-A9A0-4AC3-9567-AB0E77A3C240}" type="pres">
      <dgm:prSet presAssocID="{FCA0D8D5-1FCB-4B77-BD07-5EC9DA470E33}" presName="pillarX" presStyleLbl="node1" presStyleIdx="1" presStyleCnt="2" custLinFactNeighborX="0" custLinFactNeighborY="-970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3C674C3-6F23-42FC-8605-E2511F96B612}" type="pres">
      <dgm:prSet presAssocID="{CAA6E643-E8B6-4079-85C6-F18CBC949650}" presName="base" presStyleLbl="dkBgShp" presStyleIdx="1" presStyleCnt="2" custLinFactNeighborX="112" custLinFactNeighborY="-81092"/>
      <dgm:spPr/>
      <dgm:t>
        <a:bodyPr/>
        <a:lstStyle/>
        <a:p>
          <a:endParaRPr lang="es-ES"/>
        </a:p>
      </dgm:t>
    </dgm:pt>
  </dgm:ptLst>
  <dgm:cxnLst>
    <dgm:cxn modelId="{75AE3152-B9D5-4B58-9A49-2915A3CE7C1B}" srcId="{CAA6E643-E8B6-4079-85C6-F18CBC949650}" destId="{A18BE61D-7C92-4BF4-8F01-EFA63BF0B30C}" srcOrd="0" destOrd="0" parTransId="{5A9A1077-749A-4D90-8659-A2FA41D48EDF}" sibTransId="{0936946A-406B-41EF-89BA-5D55A7868098}"/>
    <dgm:cxn modelId="{6023DBF5-88E3-4D24-B625-5429BB6EE7C6}" srcId="{FE38019B-8F8D-4730-9E22-71FC2475B430}" destId="{CAA6E643-E8B6-4079-85C6-F18CBC949650}" srcOrd="0" destOrd="0" parTransId="{DE696BCD-A9A6-4E4E-AA6A-529E0A64AEBB}" sibTransId="{D5E27DC8-CFFE-4B02-B5A7-AF6087F5D83C}"/>
    <dgm:cxn modelId="{155F3B59-BAA8-4F8B-B4EB-0F591AF6B5F6}" type="presOf" srcId="{CAA6E643-E8B6-4079-85C6-F18CBC949650}" destId="{27D95F0F-B9A8-458D-A090-FBD444019853}" srcOrd="0" destOrd="0" presId="urn:microsoft.com/office/officeart/2005/8/layout/hList3"/>
    <dgm:cxn modelId="{AB4693D9-46FB-4EE3-B168-CD51A044D8AD}" type="presOf" srcId="{FCA0D8D5-1FCB-4B77-BD07-5EC9DA470E33}" destId="{2239B5A3-A9A0-4AC3-9567-AB0E77A3C240}" srcOrd="0" destOrd="0" presId="urn:microsoft.com/office/officeart/2005/8/layout/hList3"/>
    <dgm:cxn modelId="{6BE8F03D-AA92-4400-A594-712D0C94624B}" srcId="{CAA6E643-E8B6-4079-85C6-F18CBC949650}" destId="{FCA0D8D5-1FCB-4B77-BD07-5EC9DA470E33}" srcOrd="1" destOrd="0" parTransId="{98D7BDDD-7B4B-4909-9D08-2A5519F2DCD2}" sibTransId="{2212B472-E7F6-403E-BFB6-E23E73743414}"/>
    <dgm:cxn modelId="{22233F58-A4B8-4AE7-9F40-56A24FE081C5}" type="presOf" srcId="{FE38019B-8F8D-4730-9E22-71FC2475B430}" destId="{F0ABB57C-B804-4CCF-BBE4-AD9182D9B980}" srcOrd="0" destOrd="0" presId="urn:microsoft.com/office/officeart/2005/8/layout/hList3"/>
    <dgm:cxn modelId="{958E5D33-9170-4929-A546-318AE2BE91A4}" type="presOf" srcId="{A18BE61D-7C92-4BF4-8F01-EFA63BF0B30C}" destId="{6586C1EF-41DD-4910-9667-F16D965AB71E}" srcOrd="0" destOrd="0" presId="urn:microsoft.com/office/officeart/2005/8/layout/hList3"/>
    <dgm:cxn modelId="{631E8FFC-AD59-4780-98D8-697671FC9A86}" type="presParOf" srcId="{F0ABB57C-B804-4CCF-BBE4-AD9182D9B980}" destId="{27D95F0F-B9A8-458D-A090-FBD444019853}" srcOrd="0" destOrd="0" presId="urn:microsoft.com/office/officeart/2005/8/layout/hList3"/>
    <dgm:cxn modelId="{7DA1434F-D7BC-4C08-A9A8-96C2DA68B76C}" type="presParOf" srcId="{F0ABB57C-B804-4CCF-BBE4-AD9182D9B980}" destId="{BE0A7113-D7F2-48CB-8DAB-D38B289F0C46}" srcOrd="1" destOrd="0" presId="urn:microsoft.com/office/officeart/2005/8/layout/hList3"/>
    <dgm:cxn modelId="{4233888A-DFA4-439F-9526-1B1E0434B115}" type="presParOf" srcId="{BE0A7113-D7F2-48CB-8DAB-D38B289F0C46}" destId="{6586C1EF-41DD-4910-9667-F16D965AB71E}" srcOrd="0" destOrd="0" presId="urn:microsoft.com/office/officeart/2005/8/layout/hList3"/>
    <dgm:cxn modelId="{A6A4F116-F2EE-4D4F-971E-C12D41F552A1}" type="presParOf" srcId="{BE0A7113-D7F2-48CB-8DAB-D38B289F0C46}" destId="{2239B5A3-A9A0-4AC3-9567-AB0E77A3C240}" srcOrd="1" destOrd="0" presId="urn:microsoft.com/office/officeart/2005/8/layout/hList3"/>
    <dgm:cxn modelId="{45470A7A-25B2-48DC-A365-E15F53B4C1CA}" type="presParOf" srcId="{F0ABB57C-B804-4CCF-BBE4-AD9182D9B980}" destId="{93C674C3-6F23-42FC-8605-E2511F96B612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E38019B-8F8D-4730-9E22-71FC2475B430}" type="doc">
      <dgm:prSet loTypeId="urn:microsoft.com/office/officeart/2005/8/layout/hList3" loCatId="list" qsTypeId="urn:microsoft.com/office/officeart/2005/8/quickstyle/simple5" qsCatId="simple" csTypeId="urn:microsoft.com/office/officeart/2005/8/colors/accent1_5" csCatId="accent1" phldr="1"/>
      <dgm:spPr/>
      <dgm:t>
        <a:bodyPr/>
        <a:lstStyle/>
        <a:p>
          <a:endParaRPr lang="es-ES"/>
        </a:p>
      </dgm:t>
    </dgm:pt>
    <dgm:pt modelId="{CAA6E643-E8B6-4079-85C6-F18CBC949650}">
      <dgm:prSet phldrT="[Texto]" custT="1"/>
      <dgm:spPr/>
      <dgm:t>
        <a:bodyPr/>
        <a:lstStyle/>
        <a:p>
          <a:pPr algn="ctr"/>
          <a:r>
            <a:rPr lang="es-ES" sz="2400" b="1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Pc</a:t>
          </a:r>
          <a:r>
            <a:rPr lang="es-ES" sz="2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 / Laptop</a:t>
          </a:r>
          <a:endParaRPr lang="es-ES" sz="2400" dirty="0">
            <a:latin typeface="Calibri" pitchFamily="34" charset="0"/>
            <a:cs typeface="Calibri" pitchFamily="34" charset="0"/>
          </a:endParaRPr>
        </a:p>
      </dgm:t>
    </dgm:pt>
    <dgm:pt modelId="{DE696BCD-A9A6-4E4E-AA6A-529E0A64AEBB}" type="parTrans" cxnId="{6023DBF5-88E3-4D24-B625-5429BB6EE7C6}">
      <dgm:prSet/>
      <dgm:spPr/>
      <dgm:t>
        <a:bodyPr/>
        <a:lstStyle/>
        <a:p>
          <a:pPr algn="ctr"/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D5E27DC8-CFFE-4B02-B5A7-AF6087F5D83C}" type="sibTrans" cxnId="{6023DBF5-88E3-4D24-B625-5429BB6EE7C6}">
      <dgm:prSet/>
      <dgm:spPr/>
      <dgm:t>
        <a:bodyPr/>
        <a:lstStyle/>
        <a:p>
          <a:pPr algn="ctr"/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A18BE61D-7C92-4BF4-8F01-EFA63BF0B30C}">
      <dgm:prSet phldrT="[Texto]" custT="1"/>
      <dgm:spPr/>
      <dgm:t>
        <a:bodyPr/>
        <a:lstStyle/>
        <a:p>
          <a:pPr algn="l"/>
          <a:r>
            <a:rPr lang="es-EC" sz="2000" b="1" dirty="0" smtClean="0">
              <a:latin typeface="Calibri" pitchFamily="34" charset="0"/>
              <a:cs typeface="Calibri" pitchFamily="34" charset="0"/>
            </a:rPr>
            <a:t>[I.3] </a:t>
          </a:r>
          <a:r>
            <a:rPr lang="es-EC" sz="2000" dirty="0" smtClean="0">
              <a:latin typeface="Calibri" pitchFamily="34" charset="0"/>
              <a:cs typeface="Calibri" pitchFamily="34" charset="0"/>
            </a:rPr>
            <a:t>Contaminación mecánica.</a:t>
          </a:r>
          <a:endParaRPr lang="es-ES" sz="2000" dirty="0" smtClean="0">
            <a:latin typeface="Calibri" pitchFamily="34" charset="0"/>
            <a:cs typeface="Calibri" pitchFamily="34" charset="0"/>
          </a:endParaRPr>
        </a:p>
        <a:p>
          <a:pPr algn="l"/>
          <a:r>
            <a:rPr lang="es-EC" sz="2000" b="1" dirty="0" smtClean="0">
              <a:latin typeface="Calibri" pitchFamily="34" charset="0"/>
              <a:cs typeface="Calibri" pitchFamily="34" charset="0"/>
            </a:rPr>
            <a:t>[I.6] </a:t>
          </a:r>
          <a:r>
            <a:rPr lang="es-EC" sz="2000" dirty="0" smtClean="0">
              <a:latin typeface="Calibri" pitchFamily="34" charset="0"/>
              <a:cs typeface="Calibri" pitchFamily="34" charset="0"/>
            </a:rPr>
            <a:t>Condiciones inadecuadas de temperatura y/o humedad</a:t>
          </a:r>
          <a:endParaRPr lang="es-ES" sz="2000" dirty="0">
            <a:latin typeface="Calibri" pitchFamily="34" charset="0"/>
            <a:cs typeface="Calibri" pitchFamily="34" charset="0"/>
          </a:endParaRPr>
        </a:p>
      </dgm:t>
    </dgm:pt>
    <dgm:pt modelId="{5A9A1077-749A-4D90-8659-A2FA41D48EDF}" type="parTrans" cxnId="{75AE3152-B9D5-4B58-9A49-2915A3CE7C1B}">
      <dgm:prSet/>
      <dgm:spPr/>
      <dgm:t>
        <a:bodyPr/>
        <a:lstStyle/>
        <a:p>
          <a:pPr algn="ctr"/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0936946A-406B-41EF-89BA-5D55A7868098}" type="sibTrans" cxnId="{75AE3152-B9D5-4B58-9A49-2915A3CE7C1B}">
      <dgm:prSet/>
      <dgm:spPr/>
      <dgm:t>
        <a:bodyPr/>
        <a:lstStyle/>
        <a:p>
          <a:pPr algn="ctr"/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FCA0D8D5-1FCB-4B77-BD07-5EC9DA470E33}">
      <dgm:prSet phldrT="[Texto]" custT="1"/>
      <dgm:spPr/>
      <dgm:t>
        <a:bodyPr/>
        <a:lstStyle/>
        <a:p>
          <a:pPr algn="l"/>
          <a:r>
            <a:rPr lang="es-EC" sz="2000" b="0" dirty="0" smtClean="0">
              <a:latin typeface="Calibri" pitchFamily="34" charset="0"/>
              <a:cs typeface="Calibri" pitchFamily="34" charset="0"/>
            </a:rPr>
            <a:t>Falta de mantenimiento.</a:t>
          </a:r>
          <a:endParaRPr lang="es-ES" sz="2000" b="0" dirty="0" smtClean="0">
            <a:latin typeface="Calibri" pitchFamily="34" charset="0"/>
            <a:cs typeface="Calibri" pitchFamily="34" charset="0"/>
          </a:endParaRPr>
        </a:p>
        <a:p>
          <a:pPr algn="l"/>
          <a:r>
            <a:rPr lang="es-EC" sz="2000" b="0" dirty="0" smtClean="0">
              <a:latin typeface="Calibri" pitchFamily="34" charset="0"/>
              <a:cs typeface="Calibri" pitchFamily="34" charset="0"/>
            </a:rPr>
            <a:t>Funcionamiento no adecuado del aire acondicionado</a:t>
          </a:r>
          <a:endParaRPr lang="es-ES" sz="2000" b="0" dirty="0">
            <a:latin typeface="Calibri" pitchFamily="34" charset="0"/>
            <a:cs typeface="Calibri" pitchFamily="34" charset="0"/>
          </a:endParaRPr>
        </a:p>
      </dgm:t>
    </dgm:pt>
    <dgm:pt modelId="{2212B472-E7F6-403E-BFB6-E23E73743414}" type="sibTrans" cxnId="{6BE8F03D-AA92-4400-A594-712D0C94624B}">
      <dgm:prSet/>
      <dgm:spPr/>
      <dgm:t>
        <a:bodyPr/>
        <a:lstStyle/>
        <a:p>
          <a:pPr algn="ctr"/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98D7BDDD-7B4B-4909-9D08-2A5519F2DCD2}" type="parTrans" cxnId="{6BE8F03D-AA92-4400-A594-712D0C94624B}">
      <dgm:prSet/>
      <dgm:spPr/>
      <dgm:t>
        <a:bodyPr/>
        <a:lstStyle/>
        <a:p>
          <a:pPr algn="ctr"/>
          <a:endParaRPr lang="es-ES" sz="2000">
            <a:latin typeface="Calibri" pitchFamily="34" charset="0"/>
            <a:cs typeface="Calibri" pitchFamily="34" charset="0"/>
          </a:endParaRPr>
        </a:p>
      </dgm:t>
    </dgm:pt>
    <dgm:pt modelId="{F0ABB57C-B804-4CCF-BBE4-AD9182D9B980}" type="pres">
      <dgm:prSet presAssocID="{FE38019B-8F8D-4730-9E22-71FC2475B430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27D95F0F-B9A8-458D-A090-FBD444019853}" type="pres">
      <dgm:prSet presAssocID="{CAA6E643-E8B6-4079-85C6-F18CBC949650}" presName="roof" presStyleLbl="dkBgShp" presStyleIdx="0" presStyleCnt="2" custScaleY="57240"/>
      <dgm:spPr/>
      <dgm:t>
        <a:bodyPr/>
        <a:lstStyle/>
        <a:p>
          <a:endParaRPr lang="es-ES"/>
        </a:p>
      </dgm:t>
    </dgm:pt>
    <dgm:pt modelId="{BE0A7113-D7F2-48CB-8DAB-D38B289F0C46}" type="pres">
      <dgm:prSet presAssocID="{CAA6E643-E8B6-4079-85C6-F18CBC949650}" presName="pillars" presStyleCnt="0"/>
      <dgm:spPr/>
      <dgm:t>
        <a:bodyPr/>
        <a:lstStyle/>
        <a:p>
          <a:endParaRPr lang="es-ES"/>
        </a:p>
      </dgm:t>
    </dgm:pt>
    <dgm:pt modelId="{6586C1EF-41DD-4910-9667-F16D965AB71E}" type="pres">
      <dgm:prSet presAssocID="{CAA6E643-E8B6-4079-85C6-F18CBC949650}" presName="pillar1" presStyleLbl="node1" presStyleIdx="0" presStyleCnt="2" custScaleX="84473" custLinFactNeighborX="224" custLinFactNeighborY="-970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239B5A3-A9A0-4AC3-9567-AB0E77A3C240}" type="pres">
      <dgm:prSet presAssocID="{FCA0D8D5-1FCB-4B77-BD07-5EC9DA470E33}" presName="pillarX" presStyleLbl="node1" presStyleIdx="1" presStyleCnt="2" custLinFactNeighborX="0" custLinFactNeighborY="-970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3C674C3-6F23-42FC-8605-E2511F96B612}" type="pres">
      <dgm:prSet presAssocID="{CAA6E643-E8B6-4079-85C6-F18CBC949650}" presName="base" presStyleLbl="dkBgShp" presStyleIdx="1" presStyleCnt="2" custLinFactNeighborX="112" custLinFactNeighborY="-81092"/>
      <dgm:spPr/>
      <dgm:t>
        <a:bodyPr/>
        <a:lstStyle/>
        <a:p>
          <a:endParaRPr lang="es-ES"/>
        </a:p>
      </dgm:t>
    </dgm:pt>
  </dgm:ptLst>
  <dgm:cxnLst>
    <dgm:cxn modelId="{75AE3152-B9D5-4B58-9A49-2915A3CE7C1B}" srcId="{CAA6E643-E8B6-4079-85C6-F18CBC949650}" destId="{A18BE61D-7C92-4BF4-8F01-EFA63BF0B30C}" srcOrd="0" destOrd="0" parTransId="{5A9A1077-749A-4D90-8659-A2FA41D48EDF}" sibTransId="{0936946A-406B-41EF-89BA-5D55A7868098}"/>
    <dgm:cxn modelId="{6023DBF5-88E3-4D24-B625-5429BB6EE7C6}" srcId="{FE38019B-8F8D-4730-9E22-71FC2475B430}" destId="{CAA6E643-E8B6-4079-85C6-F18CBC949650}" srcOrd="0" destOrd="0" parTransId="{DE696BCD-A9A6-4E4E-AA6A-529E0A64AEBB}" sibTransId="{D5E27DC8-CFFE-4B02-B5A7-AF6087F5D83C}"/>
    <dgm:cxn modelId="{B86268FB-F3F9-42C4-B015-89D53F311DF7}" type="presOf" srcId="{CAA6E643-E8B6-4079-85C6-F18CBC949650}" destId="{27D95F0F-B9A8-458D-A090-FBD444019853}" srcOrd="0" destOrd="0" presId="urn:microsoft.com/office/officeart/2005/8/layout/hList3"/>
    <dgm:cxn modelId="{BF6622F5-1EE5-4841-804E-5BB95EA5B27C}" type="presOf" srcId="{FCA0D8D5-1FCB-4B77-BD07-5EC9DA470E33}" destId="{2239B5A3-A9A0-4AC3-9567-AB0E77A3C240}" srcOrd="0" destOrd="0" presId="urn:microsoft.com/office/officeart/2005/8/layout/hList3"/>
    <dgm:cxn modelId="{6BE8F03D-AA92-4400-A594-712D0C94624B}" srcId="{CAA6E643-E8B6-4079-85C6-F18CBC949650}" destId="{FCA0D8D5-1FCB-4B77-BD07-5EC9DA470E33}" srcOrd="1" destOrd="0" parTransId="{98D7BDDD-7B4B-4909-9D08-2A5519F2DCD2}" sibTransId="{2212B472-E7F6-403E-BFB6-E23E73743414}"/>
    <dgm:cxn modelId="{E85A74EC-6E75-4EB2-B2C9-2500E4753693}" type="presOf" srcId="{A18BE61D-7C92-4BF4-8F01-EFA63BF0B30C}" destId="{6586C1EF-41DD-4910-9667-F16D965AB71E}" srcOrd="0" destOrd="0" presId="urn:microsoft.com/office/officeart/2005/8/layout/hList3"/>
    <dgm:cxn modelId="{3A878891-4006-4D58-8647-223005F2FCD2}" type="presOf" srcId="{FE38019B-8F8D-4730-9E22-71FC2475B430}" destId="{F0ABB57C-B804-4CCF-BBE4-AD9182D9B980}" srcOrd="0" destOrd="0" presId="urn:microsoft.com/office/officeart/2005/8/layout/hList3"/>
    <dgm:cxn modelId="{4BA5747F-38E7-4732-B7FE-84AAB3019902}" type="presParOf" srcId="{F0ABB57C-B804-4CCF-BBE4-AD9182D9B980}" destId="{27D95F0F-B9A8-458D-A090-FBD444019853}" srcOrd="0" destOrd="0" presId="urn:microsoft.com/office/officeart/2005/8/layout/hList3"/>
    <dgm:cxn modelId="{A6C7E90B-0EEA-49C2-B328-64584EEC0EBF}" type="presParOf" srcId="{F0ABB57C-B804-4CCF-BBE4-AD9182D9B980}" destId="{BE0A7113-D7F2-48CB-8DAB-D38B289F0C46}" srcOrd="1" destOrd="0" presId="urn:microsoft.com/office/officeart/2005/8/layout/hList3"/>
    <dgm:cxn modelId="{16CB1B06-27E1-4A3C-9EDA-F1F164179F63}" type="presParOf" srcId="{BE0A7113-D7F2-48CB-8DAB-D38B289F0C46}" destId="{6586C1EF-41DD-4910-9667-F16D965AB71E}" srcOrd="0" destOrd="0" presId="urn:microsoft.com/office/officeart/2005/8/layout/hList3"/>
    <dgm:cxn modelId="{71BC9FC5-F4D4-433C-B223-ECF4A9E1FD80}" type="presParOf" srcId="{BE0A7113-D7F2-48CB-8DAB-D38B289F0C46}" destId="{2239B5A3-A9A0-4AC3-9567-AB0E77A3C240}" srcOrd="1" destOrd="0" presId="urn:microsoft.com/office/officeart/2005/8/layout/hList3"/>
    <dgm:cxn modelId="{9B2B4D93-6D74-4203-86C3-55FAC2FB87DB}" type="presParOf" srcId="{F0ABB57C-B804-4CCF-BBE4-AD9182D9B980}" destId="{93C674C3-6F23-42FC-8605-E2511F96B612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E38019B-8F8D-4730-9E22-71FC2475B430}" type="doc">
      <dgm:prSet loTypeId="urn:microsoft.com/office/officeart/2005/8/layout/hList3" loCatId="list" qsTypeId="urn:microsoft.com/office/officeart/2005/8/quickstyle/simple5" qsCatId="simple" csTypeId="urn:microsoft.com/office/officeart/2005/8/colors/accent1_5" csCatId="accent1" phldr="1"/>
      <dgm:spPr/>
      <dgm:t>
        <a:bodyPr/>
        <a:lstStyle/>
        <a:p>
          <a:endParaRPr lang="es-ES"/>
        </a:p>
      </dgm:t>
    </dgm:pt>
    <dgm:pt modelId="{CAA6E643-E8B6-4079-85C6-F18CBC949650}">
      <dgm:prSet phldrT="[Texto]" custT="1"/>
      <dgm:spPr/>
      <dgm:t>
        <a:bodyPr/>
        <a:lstStyle/>
        <a:p>
          <a:r>
            <a:rPr lang="es-EC" sz="2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Servidor</a:t>
          </a:r>
          <a:endParaRPr lang="es-ES" sz="24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itchFamily="34" charset="0"/>
            <a:cs typeface="Calibri" pitchFamily="34" charset="0"/>
          </a:endParaRPr>
        </a:p>
      </dgm:t>
    </dgm:pt>
    <dgm:pt modelId="{DE696BCD-A9A6-4E4E-AA6A-529E0A64AEBB}" type="parTrans" cxnId="{6023DBF5-88E3-4D24-B625-5429BB6EE7C6}">
      <dgm:prSet/>
      <dgm:spPr/>
      <dgm:t>
        <a:bodyPr/>
        <a:lstStyle/>
        <a:p>
          <a:endParaRPr lang="es-ES">
            <a:latin typeface="Calibri" pitchFamily="34" charset="0"/>
            <a:cs typeface="Calibri" pitchFamily="34" charset="0"/>
          </a:endParaRPr>
        </a:p>
      </dgm:t>
    </dgm:pt>
    <dgm:pt modelId="{D5E27DC8-CFFE-4B02-B5A7-AF6087F5D83C}" type="sibTrans" cxnId="{6023DBF5-88E3-4D24-B625-5429BB6EE7C6}">
      <dgm:prSet/>
      <dgm:spPr/>
      <dgm:t>
        <a:bodyPr/>
        <a:lstStyle/>
        <a:p>
          <a:endParaRPr lang="es-ES">
            <a:latin typeface="Calibri" pitchFamily="34" charset="0"/>
            <a:cs typeface="Calibri" pitchFamily="34" charset="0"/>
          </a:endParaRPr>
        </a:p>
      </dgm:t>
    </dgm:pt>
    <dgm:pt modelId="{A18BE61D-7C92-4BF4-8F01-EFA63BF0B30C}">
      <dgm:prSet phldrT="[Texto]" custT="1"/>
      <dgm:spPr/>
      <dgm:t>
        <a:bodyPr/>
        <a:lstStyle/>
        <a:p>
          <a:pPr algn="just"/>
          <a:r>
            <a:rPr lang="es-EC" sz="1800" b="1" dirty="0" smtClean="0">
              <a:latin typeface="Calibri" pitchFamily="34" charset="0"/>
              <a:cs typeface="Calibri" pitchFamily="34" charset="0"/>
            </a:rPr>
            <a:t>[I.4] 	</a:t>
          </a:r>
          <a:r>
            <a:rPr lang="es-EC" sz="1800" dirty="0" smtClean="0">
              <a:latin typeface="Calibri" pitchFamily="34" charset="0"/>
              <a:cs typeface="Calibri" pitchFamily="34" charset="0"/>
            </a:rPr>
            <a:t>Avería de origen físico.</a:t>
          </a:r>
          <a:endParaRPr lang="es-ES" sz="1800" dirty="0" smtClean="0">
            <a:latin typeface="Calibri" pitchFamily="34" charset="0"/>
            <a:cs typeface="Calibri" pitchFamily="34" charset="0"/>
          </a:endParaRPr>
        </a:p>
        <a:p>
          <a:pPr algn="just"/>
          <a:r>
            <a:rPr lang="es-EC" sz="1800" b="1" dirty="0" smtClean="0">
              <a:latin typeface="Calibri" pitchFamily="34" charset="0"/>
              <a:cs typeface="Calibri" pitchFamily="34" charset="0"/>
            </a:rPr>
            <a:t>[I.5] 	</a:t>
          </a:r>
          <a:r>
            <a:rPr lang="es-EC" sz="1800" dirty="0" smtClean="0">
              <a:latin typeface="Calibri" pitchFamily="34" charset="0"/>
              <a:cs typeface="Calibri" pitchFamily="34" charset="0"/>
            </a:rPr>
            <a:t>Corte del suministro eléctrico.</a:t>
          </a:r>
          <a:endParaRPr lang="es-ES" sz="1800" dirty="0" smtClean="0">
            <a:latin typeface="Calibri" pitchFamily="34" charset="0"/>
            <a:cs typeface="Calibri" pitchFamily="34" charset="0"/>
          </a:endParaRPr>
        </a:p>
        <a:p>
          <a:pPr algn="just"/>
          <a:r>
            <a:rPr lang="es-EC" sz="1800" b="1" dirty="0" smtClean="0">
              <a:latin typeface="Calibri" pitchFamily="34" charset="0"/>
              <a:cs typeface="Calibri" pitchFamily="34" charset="0"/>
            </a:rPr>
            <a:t>[I.6] 	</a:t>
          </a:r>
          <a:r>
            <a:rPr lang="es-EC" sz="1800" dirty="0" smtClean="0">
              <a:latin typeface="Calibri" pitchFamily="34" charset="0"/>
              <a:cs typeface="Calibri" pitchFamily="34" charset="0"/>
            </a:rPr>
            <a:t>Condiciones inadecuadas de temperatura y/o humedad.</a:t>
          </a:r>
          <a:endParaRPr lang="es-ES" sz="1800" dirty="0">
            <a:latin typeface="Calibri" pitchFamily="34" charset="0"/>
            <a:cs typeface="Calibri" pitchFamily="34" charset="0"/>
          </a:endParaRPr>
        </a:p>
      </dgm:t>
    </dgm:pt>
    <dgm:pt modelId="{5A9A1077-749A-4D90-8659-A2FA41D48EDF}" type="parTrans" cxnId="{75AE3152-B9D5-4B58-9A49-2915A3CE7C1B}">
      <dgm:prSet/>
      <dgm:spPr/>
      <dgm:t>
        <a:bodyPr/>
        <a:lstStyle/>
        <a:p>
          <a:endParaRPr lang="es-ES">
            <a:latin typeface="Calibri" pitchFamily="34" charset="0"/>
            <a:cs typeface="Calibri" pitchFamily="34" charset="0"/>
          </a:endParaRPr>
        </a:p>
      </dgm:t>
    </dgm:pt>
    <dgm:pt modelId="{0936946A-406B-41EF-89BA-5D55A7868098}" type="sibTrans" cxnId="{75AE3152-B9D5-4B58-9A49-2915A3CE7C1B}">
      <dgm:prSet/>
      <dgm:spPr/>
      <dgm:t>
        <a:bodyPr/>
        <a:lstStyle/>
        <a:p>
          <a:endParaRPr lang="es-ES">
            <a:latin typeface="Calibri" pitchFamily="34" charset="0"/>
            <a:cs typeface="Calibri" pitchFamily="34" charset="0"/>
          </a:endParaRPr>
        </a:p>
      </dgm:t>
    </dgm:pt>
    <dgm:pt modelId="{FCA0D8D5-1FCB-4B77-BD07-5EC9DA470E33}">
      <dgm:prSet phldrT="[Texto]" custT="1"/>
      <dgm:spPr/>
      <dgm:t>
        <a:bodyPr/>
        <a:lstStyle/>
        <a:p>
          <a:pPr algn="just"/>
          <a:r>
            <a:rPr lang="es-EC" sz="1800" b="0" dirty="0" smtClean="0">
              <a:latin typeface="Calibri" pitchFamily="34" charset="0"/>
              <a:cs typeface="Calibri" pitchFamily="34" charset="0"/>
            </a:rPr>
            <a:t>Falta de mantenimiento.</a:t>
          </a:r>
          <a:endParaRPr lang="es-ES" sz="1800" b="0" dirty="0" smtClean="0">
            <a:latin typeface="Calibri" pitchFamily="34" charset="0"/>
            <a:cs typeface="Calibri" pitchFamily="34" charset="0"/>
          </a:endParaRPr>
        </a:p>
        <a:p>
          <a:pPr algn="just"/>
          <a:r>
            <a:rPr lang="es-EC" sz="1800" b="0" dirty="0" smtClean="0">
              <a:latin typeface="Calibri" pitchFamily="34" charset="0"/>
              <a:cs typeface="Calibri" pitchFamily="34" charset="0"/>
            </a:rPr>
            <a:t>Funcionamiento no confiable del UPS.</a:t>
          </a:r>
        </a:p>
        <a:p>
          <a:pPr algn="just"/>
          <a:r>
            <a:rPr lang="es-EC" sz="1800" b="0" dirty="0" smtClean="0">
              <a:latin typeface="Calibri" pitchFamily="34" charset="0"/>
              <a:cs typeface="Calibri" pitchFamily="34" charset="0"/>
            </a:rPr>
            <a:t>Funcionamiento no adecuado del aire acondicionado..</a:t>
          </a:r>
          <a:endParaRPr lang="es-ES" sz="1800" b="0" dirty="0">
            <a:latin typeface="Calibri" pitchFamily="34" charset="0"/>
            <a:cs typeface="Calibri" pitchFamily="34" charset="0"/>
          </a:endParaRPr>
        </a:p>
      </dgm:t>
    </dgm:pt>
    <dgm:pt modelId="{2212B472-E7F6-403E-BFB6-E23E73743414}" type="sibTrans" cxnId="{6BE8F03D-AA92-4400-A594-712D0C94624B}">
      <dgm:prSet/>
      <dgm:spPr/>
      <dgm:t>
        <a:bodyPr/>
        <a:lstStyle/>
        <a:p>
          <a:endParaRPr lang="es-ES">
            <a:latin typeface="Calibri" pitchFamily="34" charset="0"/>
            <a:cs typeface="Calibri" pitchFamily="34" charset="0"/>
          </a:endParaRPr>
        </a:p>
      </dgm:t>
    </dgm:pt>
    <dgm:pt modelId="{98D7BDDD-7B4B-4909-9D08-2A5519F2DCD2}" type="parTrans" cxnId="{6BE8F03D-AA92-4400-A594-712D0C94624B}">
      <dgm:prSet/>
      <dgm:spPr/>
      <dgm:t>
        <a:bodyPr/>
        <a:lstStyle/>
        <a:p>
          <a:endParaRPr lang="es-ES">
            <a:latin typeface="Calibri" pitchFamily="34" charset="0"/>
            <a:cs typeface="Calibri" pitchFamily="34" charset="0"/>
          </a:endParaRPr>
        </a:p>
      </dgm:t>
    </dgm:pt>
    <dgm:pt modelId="{F0ABB57C-B804-4CCF-BBE4-AD9182D9B980}" type="pres">
      <dgm:prSet presAssocID="{FE38019B-8F8D-4730-9E22-71FC2475B430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27D95F0F-B9A8-458D-A090-FBD444019853}" type="pres">
      <dgm:prSet presAssocID="{CAA6E643-E8B6-4079-85C6-F18CBC949650}" presName="roof" presStyleLbl="dkBgShp" presStyleIdx="0" presStyleCnt="2" custScaleY="57240"/>
      <dgm:spPr/>
      <dgm:t>
        <a:bodyPr/>
        <a:lstStyle/>
        <a:p>
          <a:endParaRPr lang="es-ES"/>
        </a:p>
      </dgm:t>
    </dgm:pt>
    <dgm:pt modelId="{BE0A7113-D7F2-48CB-8DAB-D38B289F0C46}" type="pres">
      <dgm:prSet presAssocID="{CAA6E643-E8B6-4079-85C6-F18CBC949650}" presName="pillars" presStyleCnt="0"/>
      <dgm:spPr/>
      <dgm:t>
        <a:bodyPr/>
        <a:lstStyle/>
        <a:p>
          <a:endParaRPr lang="es-ES"/>
        </a:p>
      </dgm:t>
    </dgm:pt>
    <dgm:pt modelId="{6586C1EF-41DD-4910-9667-F16D965AB71E}" type="pres">
      <dgm:prSet presAssocID="{CAA6E643-E8B6-4079-85C6-F18CBC949650}" presName="pillar1" presStyleLbl="node1" presStyleIdx="0" presStyleCnt="2" custLinFactNeighborX="224" custLinFactNeighborY="-970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239B5A3-A9A0-4AC3-9567-AB0E77A3C240}" type="pres">
      <dgm:prSet presAssocID="{FCA0D8D5-1FCB-4B77-BD07-5EC9DA470E33}" presName="pillarX" presStyleLbl="node1" presStyleIdx="1" presStyleCnt="2" custLinFactNeighborX="0" custLinFactNeighborY="-970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3C674C3-6F23-42FC-8605-E2511F96B612}" type="pres">
      <dgm:prSet presAssocID="{CAA6E643-E8B6-4079-85C6-F18CBC949650}" presName="base" presStyleLbl="dkBgShp" presStyleIdx="1" presStyleCnt="2" custLinFactNeighborX="112" custLinFactNeighborY="-81092"/>
      <dgm:spPr/>
      <dgm:t>
        <a:bodyPr/>
        <a:lstStyle/>
        <a:p>
          <a:endParaRPr lang="es-ES"/>
        </a:p>
      </dgm:t>
    </dgm:pt>
  </dgm:ptLst>
  <dgm:cxnLst>
    <dgm:cxn modelId="{B3C1CACC-5E68-4752-A83E-182C8B3B188F}" type="presOf" srcId="{CAA6E643-E8B6-4079-85C6-F18CBC949650}" destId="{27D95F0F-B9A8-458D-A090-FBD444019853}" srcOrd="0" destOrd="0" presId="urn:microsoft.com/office/officeart/2005/8/layout/hList3"/>
    <dgm:cxn modelId="{75AE3152-B9D5-4B58-9A49-2915A3CE7C1B}" srcId="{CAA6E643-E8B6-4079-85C6-F18CBC949650}" destId="{A18BE61D-7C92-4BF4-8F01-EFA63BF0B30C}" srcOrd="0" destOrd="0" parTransId="{5A9A1077-749A-4D90-8659-A2FA41D48EDF}" sibTransId="{0936946A-406B-41EF-89BA-5D55A7868098}"/>
    <dgm:cxn modelId="{6023DBF5-88E3-4D24-B625-5429BB6EE7C6}" srcId="{FE38019B-8F8D-4730-9E22-71FC2475B430}" destId="{CAA6E643-E8B6-4079-85C6-F18CBC949650}" srcOrd="0" destOrd="0" parTransId="{DE696BCD-A9A6-4E4E-AA6A-529E0A64AEBB}" sibTransId="{D5E27DC8-CFFE-4B02-B5A7-AF6087F5D83C}"/>
    <dgm:cxn modelId="{A60245A8-D8F9-477D-959A-B6C63A7A1A33}" type="presOf" srcId="{FE38019B-8F8D-4730-9E22-71FC2475B430}" destId="{F0ABB57C-B804-4CCF-BBE4-AD9182D9B980}" srcOrd="0" destOrd="0" presId="urn:microsoft.com/office/officeart/2005/8/layout/hList3"/>
    <dgm:cxn modelId="{09BF9D82-DE47-4D11-84E7-42491D86E37F}" type="presOf" srcId="{FCA0D8D5-1FCB-4B77-BD07-5EC9DA470E33}" destId="{2239B5A3-A9A0-4AC3-9567-AB0E77A3C240}" srcOrd="0" destOrd="0" presId="urn:microsoft.com/office/officeart/2005/8/layout/hList3"/>
    <dgm:cxn modelId="{6BE8F03D-AA92-4400-A594-712D0C94624B}" srcId="{CAA6E643-E8B6-4079-85C6-F18CBC949650}" destId="{FCA0D8D5-1FCB-4B77-BD07-5EC9DA470E33}" srcOrd="1" destOrd="0" parTransId="{98D7BDDD-7B4B-4909-9D08-2A5519F2DCD2}" sibTransId="{2212B472-E7F6-403E-BFB6-E23E73743414}"/>
    <dgm:cxn modelId="{57712ED0-B715-4084-91C9-CE9DB6A10CDE}" type="presOf" srcId="{A18BE61D-7C92-4BF4-8F01-EFA63BF0B30C}" destId="{6586C1EF-41DD-4910-9667-F16D965AB71E}" srcOrd="0" destOrd="0" presId="urn:microsoft.com/office/officeart/2005/8/layout/hList3"/>
    <dgm:cxn modelId="{5C2176B7-3A05-473B-B11D-8B204D9B985D}" type="presParOf" srcId="{F0ABB57C-B804-4CCF-BBE4-AD9182D9B980}" destId="{27D95F0F-B9A8-458D-A090-FBD444019853}" srcOrd="0" destOrd="0" presId="urn:microsoft.com/office/officeart/2005/8/layout/hList3"/>
    <dgm:cxn modelId="{F3191559-1C31-42DA-BAFC-BCA0F2011134}" type="presParOf" srcId="{F0ABB57C-B804-4CCF-BBE4-AD9182D9B980}" destId="{BE0A7113-D7F2-48CB-8DAB-D38B289F0C46}" srcOrd="1" destOrd="0" presId="urn:microsoft.com/office/officeart/2005/8/layout/hList3"/>
    <dgm:cxn modelId="{E54ACC2D-F2CF-4658-95F6-17F64674E307}" type="presParOf" srcId="{BE0A7113-D7F2-48CB-8DAB-D38B289F0C46}" destId="{6586C1EF-41DD-4910-9667-F16D965AB71E}" srcOrd="0" destOrd="0" presId="urn:microsoft.com/office/officeart/2005/8/layout/hList3"/>
    <dgm:cxn modelId="{DC034415-FFB5-4E80-8572-0354B78FA6A3}" type="presParOf" srcId="{BE0A7113-D7F2-48CB-8DAB-D38B289F0C46}" destId="{2239B5A3-A9A0-4AC3-9567-AB0E77A3C240}" srcOrd="1" destOrd="0" presId="urn:microsoft.com/office/officeart/2005/8/layout/hList3"/>
    <dgm:cxn modelId="{3A299827-1CF2-41E3-BA9E-EEC06A38153B}" type="presParOf" srcId="{F0ABB57C-B804-4CCF-BBE4-AD9182D9B980}" destId="{93C674C3-6F23-42FC-8605-E2511F96B612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E38019B-8F8D-4730-9E22-71FC2475B430}" type="doc">
      <dgm:prSet loTypeId="urn:microsoft.com/office/officeart/2005/8/layout/hList3" loCatId="list" qsTypeId="urn:microsoft.com/office/officeart/2005/8/quickstyle/simple5" qsCatId="simple" csTypeId="urn:microsoft.com/office/officeart/2005/8/colors/accent1_5" csCatId="accent1" phldr="1"/>
      <dgm:spPr/>
      <dgm:t>
        <a:bodyPr/>
        <a:lstStyle/>
        <a:p>
          <a:endParaRPr lang="es-ES"/>
        </a:p>
      </dgm:t>
    </dgm:pt>
    <dgm:pt modelId="{CAA6E643-E8B6-4079-85C6-F18CBC949650}">
      <dgm:prSet phldrT="[Texto]" custT="1"/>
      <dgm:spPr/>
      <dgm:t>
        <a:bodyPr/>
        <a:lstStyle/>
        <a:p>
          <a:r>
            <a:rPr lang="es-EC" sz="2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Aplicaciones (Software)</a:t>
          </a:r>
          <a:endParaRPr lang="es-ES" sz="24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itchFamily="34" charset="0"/>
            <a:cs typeface="Calibri" pitchFamily="34" charset="0"/>
          </a:endParaRPr>
        </a:p>
      </dgm:t>
    </dgm:pt>
    <dgm:pt modelId="{DE696BCD-A9A6-4E4E-AA6A-529E0A64AEBB}" type="parTrans" cxnId="{6023DBF5-88E3-4D24-B625-5429BB6EE7C6}">
      <dgm:prSet/>
      <dgm:spPr/>
      <dgm:t>
        <a:bodyPr/>
        <a:lstStyle/>
        <a:p>
          <a:endParaRPr lang="es-ES">
            <a:latin typeface="Calibri" pitchFamily="34" charset="0"/>
            <a:cs typeface="Calibri" pitchFamily="34" charset="0"/>
          </a:endParaRPr>
        </a:p>
      </dgm:t>
    </dgm:pt>
    <dgm:pt modelId="{D5E27DC8-CFFE-4B02-B5A7-AF6087F5D83C}" type="sibTrans" cxnId="{6023DBF5-88E3-4D24-B625-5429BB6EE7C6}">
      <dgm:prSet/>
      <dgm:spPr/>
      <dgm:t>
        <a:bodyPr/>
        <a:lstStyle/>
        <a:p>
          <a:endParaRPr lang="es-ES">
            <a:latin typeface="Calibri" pitchFamily="34" charset="0"/>
            <a:cs typeface="Calibri" pitchFamily="34" charset="0"/>
          </a:endParaRPr>
        </a:p>
      </dgm:t>
    </dgm:pt>
    <dgm:pt modelId="{A18BE61D-7C92-4BF4-8F01-EFA63BF0B30C}">
      <dgm:prSet phldrT="[Texto]" custT="1"/>
      <dgm:spPr/>
      <dgm:t>
        <a:bodyPr/>
        <a:lstStyle/>
        <a:p>
          <a:pPr algn="just"/>
          <a:r>
            <a:rPr lang="es-EC" sz="1800" b="1" dirty="0" smtClean="0">
              <a:latin typeface="Calibri" pitchFamily="34" charset="0"/>
              <a:cs typeface="Calibri" pitchFamily="34" charset="0"/>
            </a:rPr>
            <a:t>[E.9]	</a:t>
          </a:r>
          <a:r>
            <a:rPr lang="es-EC" sz="1800" dirty="0" smtClean="0">
              <a:latin typeface="Calibri" pitchFamily="34" charset="0"/>
              <a:cs typeface="Calibri" pitchFamily="34" charset="0"/>
            </a:rPr>
            <a:t>Introducción de información incorrecta.</a:t>
          </a:r>
          <a:endParaRPr lang="es-ES" sz="1800" dirty="0" smtClean="0">
            <a:latin typeface="Calibri" pitchFamily="34" charset="0"/>
            <a:cs typeface="Calibri" pitchFamily="34" charset="0"/>
          </a:endParaRPr>
        </a:p>
        <a:p>
          <a:pPr algn="just"/>
          <a:r>
            <a:rPr lang="es-EC" sz="1800" b="1" dirty="0" smtClean="0">
              <a:latin typeface="Calibri" pitchFamily="34" charset="0"/>
              <a:cs typeface="Calibri" pitchFamily="34" charset="0"/>
            </a:rPr>
            <a:t>[E.16]	</a:t>
          </a:r>
          <a:r>
            <a:rPr lang="es-EC" sz="1800" dirty="0" smtClean="0">
              <a:latin typeface="Calibri" pitchFamily="34" charset="0"/>
              <a:cs typeface="Calibri" pitchFamily="34" charset="0"/>
            </a:rPr>
            <a:t>Caída del sistema por agotamiento de recursos.</a:t>
          </a:r>
          <a:endParaRPr lang="es-ES" sz="1800" dirty="0">
            <a:latin typeface="Calibri" pitchFamily="34" charset="0"/>
            <a:cs typeface="Calibri" pitchFamily="34" charset="0"/>
          </a:endParaRPr>
        </a:p>
      </dgm:t>
    </dgm:pt>
    <dgm:pt modelId="{5A9A1077-749A-4D90-8659-A2FA41D48EDF}" type="parTrans" cxnId="{75AE3152-B9D5-4B58-9A49-2915A3CE7C1B}">
      <dgm:prSet/>
      <dgm:spPr/>
      <dgm:t>
        <a:bodyPr/>
        <a:lstStyle/>
        <a:p>
          <a:endParaRPr lang="es-ES">
            <a:latin typeface="Calibri" pitchFamily="34" charset="0"/>
            <a:cs typeface="Calibri" pitchFamily="34" charset="0"/>
          </a:endParaRPr>
        </a:p>
      </dgm:t>
    </dgm:pt>
    <dgm:pt modelId="{0936946A-406B-41EF-89BA-5D55A7868098}" type="sibTrans" cxnId="{75AE3152-B9D5-4B58-9A49-2915A3CE7C1B}">
      <dgm:prSet/>
      <dgm:spPr/>
      <dgm:t>
        <a:bodyPr/>
        <a:lstStyle/>
        <a:p>
          <a:endParaRPr lang="es-ES">
            <a:latin typeface="Calibri" pitchFamily="34" charset="0"/>
            <a:cs typeface="Calibri" pitchFamily="34" charset="0"/>
          </a:endParaRPr>
        </a:p>
      </dgm:t>
    </dgm:pt>
    <dgm:pt modelId="{FCA0D8D5-1FCB-4B77-BD07-5EC9DA470E33}">
      <dgm:prSet phldrT="[Texto]" custT="1"/>
      <dgm:spPr/>
      <dgm:t>
        <a:bodyPr/>
        <a:lstStyle/>
        <a:p>
          <a:pPr algn="just"/>
          <a:r>
            <a:rPr lang="es-EC" sz="1800" b="0" dirty="0" smtClean="0">
              <a:latin typeface="Calibri" pitchFamily="34" charset="0"/>
              <a:cs typeface="Calibri" pitchFamily="34" charset="0"/>
            </a:rPr>
            <a:t>Falta de conocimiento para el uso de la aplicación.</a:t>
          </a:r>
          <a:endParaRPr lang="es-ES" sz="1800" b="0" dirty="0" smtClean="0">
            <a:latin typeface="Calibri" pitchFamily="34" charset="0"/>
            <a:cs typeface="Calibri" pitchFamily="34" charset="0"/>
          </a:endParaRPr>
        </a:p>
        <a:p>
          <a:pPr algn="just"/>
          <a:r>
            <a:rPr lang="es-EC" sz="1800" b="0" dirty="0" smtClean="0">
              <a:latin typeface="Calibri" pitchFamily="34" charset="0"/>
              <a:cs typeface="Calibri" pitchFamily="34" charset="0"/>
            </a:rPr>
            <a:t>Sobrecarga en la utilización de la aplicación.</a:t>
          </a:r>
          <a:endParaRPr lang="es-ES" sz="1800" b="0" dirty="0">
            <a:latin typeface="Calibri" pitchFamily="34" charset="0"/>
            <a:cs typeface="Calibri" pitchFamily="34" charset="0"/>
          </a:endParaRPr>
        </a:p>
      </dgm:t>
    </dgm:pt>
    <dgm:pt modelId="{2212B472-E7F6-403E-BFB6-E23E73743414}" type="sibTrans" cxnId="{6BE8F03D-AA92-4400-A594-712D0C94624B}">
      <dgm:prSet/>
      <dgm:spPr/>
      <dgm:t>
        <a:bodyPr/>
        <a:lstStyle/>
        <a:p>
          <a:endParaRPr lang="es-ES">
            <a:latin typeface="Calibri" pitchFamily="34" charset="0"/>
            <a:cs typeface="Calibri" pitchFamily="34" charset="0"/>
          </a:endParaRPr>
        </a:p>
      </dgm:t>
    </dgm:pt>
    <dgm:pt modelId="{98D7BDDD-7B4B-4909-9D08-2A5519F2DCD2}" type="parTrans" cxnId="{6BE8F03D-AA92-4400-A594-712D0C94624B}">
      <dgm:prSet/>
      <dgm:spPr/>
      <dgm:t>
        <a:bodyPr/>
        <a:lstStyle/>
        <a:p>
          <a:endParaRPr lang="es-ES">
            <a:latin typeface="Calibri" pitchFamily="34" charset="0"/>
            <a:cs typeface="Calibri" pitchFamily="34" charset="0"/>
          </a:endParaRPr>
        </a:p>
      </dgm:t>
    </dgm:pt>
    <dgm:pt modelId="{F0ABB57C-B804-4CCF-BBE4-AD9182D9B980}" type="pres">
      <dgm:prSet presAssocID="{FE38019B-8F8D-4730-9E22-71FC2475B430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27D95F0F-B9A8-458D-A090-FBD444019853}" type="pres">
      <dgm:prSet presAssocID="{CAA6E643-E8B6-4079-85C6-F18CBC949650}" presName="roof" presStyleLbl="dkBgShp" presStyleIdx="0" presStyleCnt="2" custScaleY="57240"/>
      <dgm:spPr/>
      <dgm:t>
        <a:bodyPr/>
        <a:lstStyle/>
        <a:p>
          <a:endParaRPr lang="es-ES"/>
        </a:p>
      </dgm:t>
    </dgm:pt>
    <dgm:pt modelId="{BE0A7113-D7F2-48CB-8DAB-D38B289F0C46}" type="pres">
      <dgm:prSet presAssocID="{CAA6E643-E8B6-4079-85C6-F18CBC949650}" presName="pillars" presStyleCnt="0"/>
      <dgm:spPr/>
      <dgm:t>
        <a:bodyPr/>
        <a:lstStyle/>
        <a:p>
          <a:endParaRPr lang="es-ES"/>
        </a:p>
      </dgm:t>
    </dgm:pt>
    <dgm:pt modelId="{6586C1EF-41DD-4910-9667-F16D965AB71E}" type="pres">
      <dgm:prSet presAssocID="{CAA6E643-E8B6-4079-85C6-F18CBC949650}" presName="pillar1" presStyleLbl="node1" presStyleIdx="0" presStyleCnt="2" custLinFactNeighborX="224" custLinFactNeighborY="-970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239B5A3-A9A0-4AC3-9567-AB0E77A3C240}" type="pres">
      <dgm:prSet presAssocID="{FCA0D8D5-1FCB-4B77-BD07-5EC9DA470E33}" presName="pillarX" presStyleLbl="node1" presStyleIdx="1" presStyleCnt="2" custLinFactNeighborX="0" custLinFactNeighborY="-970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3C674C3-6F23-42FC-8605-E2511F96B612}" type="pres">
      <dgm:prSet presAssocID="{CAA6E643-E8B6-4079-85C6-F18CBC949650}" presName="base" presStyleLbl="dkBgShp" presStyleIdx="1" presStyleCnt="2" custLinFactNeighborX="112" custLinFactNeighborY="-81092"/>
      <dgm:spPr/>
      <dgm:t>
        <a:bodyPr/>
        <a:lstStyle/>
        <a:p>
          <a:endParaRPr lang="es-ES"/>
        </a:p>
      </dgm:t>
    </dgm:pt>
  </dgm:ptLst>
  <dgm:cxnLst>
    <dgm:cxn modelId="{1F81414A-FEFE-419B-95E4-2E330246E4C2}" type="presOf" srcId="{A18BE61D-7C92-4BF4-8F01-EFA63BF0B30C}" destId="{6586C1EF-41DD-4910-9667-F16D965AB71E}" srcOrd="0" destOrd="0" presId="urn:microsoft.com/office/officeart/2005/8/layout/hList3"/>
    <dgm:cxn modelId="{75AE3152-B9D5-4B58-9A49-2915A3CE7C1B}" srcId="{CAA6E643-E8B6-4079-85C6-F18CBC949650}" destId="{A18BE61D-7C92-4BF4-8F01-EFA63BF0B30C}" srcOrd="0" destOrd="0" parTransId="{5A9A1077-749A-4D90-8659-A2FA41D48EDF}" sibTransId="{0936946A-406B-41EF-89BA-5D55A7868098}"/>
    <dgm:cxn modelId="{6BE8F03D-AA92-4400-A594-712D0C94624B}" srcId="{CAA6E643-E8B6-4079-85C6-F18CBC949650}" destId="{FCA0D8D5-1FCB-4B77-BD07-5EC9DA470E33}" srcOrd="1" destOrd="0" parTransId="{98D7BDDD-7B4B-4909-9D08-2A5519F2DCD2}" sibTransId="{2212B472-E7F6-403E-BFB6-E23E73743414}"/>
    <dgm:cxn modelId="{E6451F10-0D59-4FF4-A9E6-58ABE9761454}" type="presOf" srcId="{FE38019B-8F8D-4730-9E22-71FC2475B430}" destId="{F0ABB57C-B804-4CCF-BBE4-AD9182D9B980}" srcOrd="0" destOrd="0" presId="urn:microsoft.com/office/officeart/2005/8/layout/hList3"/>
    <dgm:cxn modelId="{B8D0354B-DB7C-4F1C-AE4F-428EB35FA5CC}" type="presOf" srcId="{CAA6E643-E8B6-4079-85C6-F18CBC949650}" destId="{27D95F0F-B9A8-458D-A090-FBD444019853}" srcOrd="0" destOrd="0" presId="urn:microsoft.com/office/officeart/2005/8/layout/hList3"/>
    <dgm:cxn modelId="{F44A5FC8-B4B2-41B8-96F7-44D37E2C8139}" type="presOf" srcId="{FCA0D8D5-1FCB-4B77-BD07-5EC9DA470E33}" destId="{2239B5A3-A9A0-4AC3-9567-AB0E77A3C240}" srcOrd="0" destOrd="0" presId="urn:microsoft.com/office/officeart/2005/8/layout/hList3"/>
    <dgm:cxn modelId="{6023DBF5-88E3-4D24-B625-5429BB6EE7C6}" srcId="{FE38019B-8F8D-4730-9E22-71FC2475B430}" destId="{CAA6E643-E8B6-4079-85C6-F18CBC949650}" srcOrd="0" destOrd="0" parTransId="{DE696BCD-A9A6-4E4E-AA6A-529E0A64AEBB}" sibTransId="{D5E27DC8-CFFE-4B02-B5A7-AF6087F5D83C}"/>
    <dgm:cxn modelId="{A8050565-E008-463D-A0A6-6AA8274998DA}" type="presParOf" srcId="{F0ABB57C-B804-4CCF-BBE4-AD9182D9B980}" destId="{27D95F0F-B9A8-458D-A090-FBD444019853}" srcOrd="0" destOrd="0" presId="urn:microsoft.com/office/officeart/2005/8/layout/hList3"/>
    <dgm:cxn modelId="{EA53D253-C1AD-49C7-8F2B-1D953A2484D2}" type="presParOf" srcId="{F0ABB57C-B804-4CCF-BBE4-AD9182D9B980}" destId="{BE0A7113-D7F2-48CB-8DAB-D38B289F0C46}" srcOrd="1" destOrd="0" presId="urn:microsoft.com/office/officeart/2005/8/layout/hList3"/>
    <dgm:cxn modelId="{1A93AD93-3D64-426E-8CE2-F14B8892397D}" type="presParOf" srcId="{BE0A7113-D7F2-48CB-8DAB-D38B289F0C46}" destId="{6586C1EF-41DD-4910-9667-F16D965AB71E}" srcOrd="0" destOrd="0" presId="urn:microsoft.com/office/officeart/2005/8/layout/hList3"/>
    <dgm:cxn modelId="{888A231E-562E-404E-8889-E75C0F522877}" type="presParOf" srcId="{BE0A7113-D7F2-48CB-8DAB-D38B289F0C46}" destId="{2239B5A3-A9A0-4AC3-9567-AB0E77A3C240}" srcOrd="1" destOrd="0" presId="urn:microsoft.com/office/officeart/2005/8/layout/hList3"/>
    <dgm:cxn modelId="{C2EA16B0-81D4-4364-B751-F4495B0A559D}" type="presParOf" srcId="{F0ABB57C-B804-4CCF-BBE4-AD9182D9B980}" destId="{93C674C3-6F23-42FC-8605-E2511F96B612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FE38019B-8F8D-4730-9E22-71FC2475B430}" type="doc">
      <dgm:prSet loTypeId="urn:microsoft.com/office/officeart/2005/8/layout/list1" loCatId="list" qsTypeId="urn:microsoft.com/office/officeart/2005/8/quickstyle/simple5" qsCatId="simple" csTypeId="urn:microsoft.com/office/officeart/2005/8/colors/accent1_4" csCatId="accent1" phldr="1"/>
      <dgm:spPr/>
      <dgm:t>
        <a:bodyPr/>
        <a:lstStyle/>
        <a:p>
          <a:endParaRPr lang="es-ES"/>
        </a:p>
      </dgm:t>
    </dgm:pt>
    <dgm:pt modelId="{2EE93862-5DC7-4848-9B57-DBF80E159F4E}">
      <dgm:prSet phldrT="[Texto]" custT="1"/>
      <dgm:spPr/>
      <dgm:t>
        <a:bodyPr/>
        <a:lstStyle/>
        <a:p>
          <a:r>
            <a:rPr lang="es-EC" sz="1800" b="1" dirty="0" smtClean="0">
              <a:latin typeface="Calibri" pitchFamily="34" charset="0"/>
              <a:cs typeface="Calibri" pitchFamily="34" charset="0"/>
            </a:rPr>
            <a:t>Contaminación mecánica [</a:t>
          </a:r>
          <a:r>
            <a:rPr lang="es-EC" sz="1800" b="1" dirty="0" err="1" smtClean="0">
              <a:latin typeface="Calibri" pitchFamily="34" charset="0"/>
              <a:cs typeface="Calibri" pitchFamily="34" charset="0"/>
            </a:rPr>
            <a:t>I.3</a:t>
          </a:r>
          <a:r>
            <a:rPr lang="es-EC" sz="1800" b="1" dirty="0" smtClean="0">
              <a:latin typeface="Calibri" pitchFamily="34" charset="0"/>
              <a:cs typeface="Calibri" pitchFamily="34" charset="0"/>
            </a:rPr>
            <a:t>] </a:t>
          </a:r>
          <a:endParaRPr lang="es-ES" sz="1800" b="1" dirty="0">
            <a:latin typeface="Calibri" pitchFamily="34" charset="0"/>
            <a:cs typeface="Calibri" pitchFamily="34" charset="0"/>
          </a:endParaRPr>
        </a:p>
      </dgm:t>
    </dgm:pt>
    <dgm:pt modelId="{D538BBD1-6544-4C36-A20D-A485E7A54DB8}" type="parTrans" cxnId="{6061B4DD-A44C-482D-AD76-1DF4AB6D9B47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3421FEAA-E06D-4F59-8DA8-D9C71ECFD66E}" type="sibTrans" cxnId="{6061B4DD-A44C-482D-AD76-1DF4AB6D9B47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164C97EE-6815-438E-A171-F6A7B1C0DAAD}">
      <dgm:prSet phldrT="[Texto]" custT="1"/>
      <dgm:spPr/>
      <dgm:t>
        <a:bodyPr/>
        <a:lstStyle/>
        <a:p>
          <a:r>
            <a:rPr lang="es-EC" sz="1800" dirty="0" smtClean="0">
              <a:latin typeface="Calibri" pitchFamily="34" charset="0"/>
              <a:cs typeface="Calibri" pitchFamily="34" charset="0"/>
            </a:rPr>
            <a:t>(C1) – (C2) - (L4) - [D]</a:t>
          </a:r>
          <a:endParaRPr lang="es-ES" sz="1800" dirty="0">
            <a:latin typeface="Calibri" pitchFamily="34" charset="0"/>
            <a:cs typeface="Calibri" pitchFamily="34" charset="0"/>
          </a:endParaRPr>
        </a:p>
      </dgm:t>
    </dgm:pt>
    <dgm:pt modelId="{20C68D5D-DE42-4167-B852-CEF33D6DFBEC}" type="parTrans" cxnId="{7F1C50C6-08DE-452F-BCF1-19C094C91507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505ABE01-1D3C-4F1E-A740-661E81CD3CC1}" type="sibTrans" cxnId="{7F1C50C6-08DE-452F-BCF1-19C094C91507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468D27DE-FF7D-4B59-B575-85AAA905F3BC}">
      <dgm:prSet phldrT="[Texto]" custT="1"/>
      <dgm:spPr/>
      <dgm:t>
        <a:bodyPr/>
        <a:lstStyle/>
        <a:p>
          <a:r>
            <a:rPr lang="es-EC" sz="1800" b="1" dirty="0" smtClean="0">
              <a:latin typeface="Calibri" pitchFamily="34" charset="0"/>
              <a:cs typeface="Calibri" pitchFamily="34" charset="0"/>
            </a:rPr>
            <a:t>Condiciones inadecuadas de temperatura y/o humedad [</a:t>
          </a:r>
          <a:r>
            <a:rPr lang="es-EC" sz="1800" b="1" dirty="0" err="1" smtClean="0">
              <a:latin typeface="Calibri" pitchFamily="34" charset="0"/>
              <a:cs typeface="Calibri" pitchFamily="34" charset="0"/>
            </a:rPr>
            <a:t>I.6</a:t>
          </a:r>
          <a:r>
            <a:rPr lang="es-EC" sz="1800" b="1" dirty="0" smtClean="0">
              <a:latin typeface="Calibri" pitchFamily="34" charset="0"/>
              <a:cs typeface="Calibri" pitchFamily="34" charset="0"/>
            </a:rPr>
            <a:t>]</a:t>
          </a:r>
          <a:endParaRPr lang="es-ES" sz="1800" b="1" dirty="0">
            <a:latin typeface="Calibri" pitchFamily="34" charset="0"/>
            <a:cs typeface="Calibri" pitchFamily="34" charset="0"/>
          </a:endParaRPr>
        </a:p>
      </dgm:t>
    </dgm:pt>
    <dgm:pt modelId="{66807AAF-0C39-44D3-9C54-D806D2C13BC0}" type="parTrans" cxnId="{641A4080-CD2E-4963-B101-AA68864728DB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DB76B950-D9A2-4FF6-8E40-AEA36079B50D}" type="sibTrans" cxnId="{641A4080-CD2E-4963-B101-AA68864728DB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FEB8F535-CD60-44E9-99A8-89DFDB52DCEB}">
      <dgm:prSet phldrT="[Texto]" custT="1"/>
      <dgm:spPr/>
      <dgm:t>
        <a:bodyPr/>
        <a:lstStyle/>
        <a:p>
          <a:r>
            <a:rPr lang="es-EC" sz="1800" dirty="0" smtClean="0">
              <a:latin typeface="Calibri" pitchFamily="34" charset="0"/>
              <a:cs typeface="Calibri" pitchFamily="34" charset="0"/>
            </a:rPr>
            <a:t>(C1) - (C2) - (L4) - [D]</a:t>
          </a:r>
          <a:endParaRPr lang="es-ES" sz="1800" dirty="0">
            <a:latin typeface="Calibri" pitchFamily="34" charset="0"/>
            <a:cs typeface="Calibri" pitchFamily="34" charset="0"/>
          </a:endParaRPr>
        </a:p>
      </dgm:t>
    </dgm:pt>
    <dgm:pt modelId="{F8423F6A-CBBF-446E-A796-2AF051C855B2}" type="parTrans" cxnId="{EE31868C-0935-4748-A727-E75449F24573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5D936630-D1F9-462D-898F-DE80A4236566}" type="sibTrans" cxnId="{EE31868C-0935-4748-A727-E75449F24573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28D2910F-65C8-4FA3-904C-1A455A09C5F9}">
      <dgm:prSet custT="1"/>
      <dgm:spPr/>
      <dgm:t>
        <a:bodyPr/>
        <a:lstStyle/>
        <a:p>
          <a:pPr algn="ctr"/>
          <a:r>
            <a:rPr lang="es-ES" sz="18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Pc  / Laptop</a:t>
          </a:r>
          <a:endParaRPr lang="es-ES" sz="1800" dirty="0">
            <a:latin typeface="Calibri" pitchFamily="34" charset="0"/>
            <a:cs typeface="Calibri" pitchFamily="34" charset="0"/>
          </a:endParaRPr>
        </a:p>
      </dgm:t>
    </dgm:pt>
    <dgm:pt modelId="{9A7A520B-259A-4638-9DC8-944829944EA7}" type="parTrans" cxnId="{C425569C-3837-4B90-B066-5CABED5737E8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9E96A37D-5AFF-4695-9DEE-02475F27F502}" type="sibTrans" cxnId="{C425569C-3837-4B90-B066-5CABED5737E8}">
      <dgm:prSet/>
      <dgm:spPr/>
      <dgm:t>
        <a:bodyPr/>
        <a:lstStyle/>
        <a:p>
          <a:endParaRPr lang="es-ES" sz="1800">
            <a:latin typeface="Calibri" pitchFamily="34" charset="0"/>
            <a:cs typeface="Calibri" pitchFamily="34" charset="0"/>
          </a:endParaRPr>
        </a:p>
      </dgm:t>
    </dgm:pt>
    <dgm:pt modelId="{302A9EEB-3246-4F75-986A-3812DB84FBF8}" type="pres">
      <dgm:prSet presAssocID="{FE38019B-8F8D-4730-9E22-71FC2475B430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C33AC9C8-8549-4D55-8ABF-701B6BAF1A70}" type="pres">
      <dgm:prSet presAssocID="{28D2910F-65C8-4FA3-904C-1A455A09C5F9}" presName="parentLin" presStyleCnt="0"/>
      <dgm:spPr/>
    </dgm:pt>
    <dgm:pt modelId="{03A03CFD-AEF3-4B74-A0DD-E929F033B464}" type="pres">
      <dgm:prSet presAssocID="{28D2910F-65C8-4FA3-904C-1A455A09C5F9}" presName="parentLeftMargin" presStyleLbl="node1" presStyleIdx="0" presStyleCnt="3"/>
      <dgm:spPr/>
      <dgm:t>
        <a:bodyPr/>
        <a:lstStyle/>
        <a:p>
          <a:endParaRPr lang="es-ES"/>
        </a:p>
      </dgm:t>
    </dgm:pt>
    <dgm:pt modelId="{30216973-73A8-434A-A495-4E455CD98D3B}" type="pres">
      <dgm:prSet presAssocID="{28D2910F-65C8-4FA3-904C-1A455A09C5F9}" presName="parentText" presStyleLbl="node1" presStyleIdx="0" presStyleCnt="3" custScaleX="58978" custScaleY="60976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5E78802-13A2-42AF-9820-A7490EA7C5B7}" type="pres">
      <dgm:prSet presAssocID="{28D2910F-65C8-4FA3-904C-1A455A09C5F9}" presName="negativeSpace" presStyleCnt="0"/>
      <dgm:spPr/>
    </dgm:pt>
    <dgm:pt modelId="{B2F18FA6-7384-4B92-89ED-E17FECE30B66}" type="pres">
      <dgm:prSet presAssocID="{28D2910F-65C8-4FA3-904C-1A455A09C5F9}" presName="childText" presStyleLbl="conFgAcc1" presStyleIdx="0" presStyleCnt="3" custScaleY="74818">
        <dgm:presLayoutVars>
          <dgm:bulletEnabled val="1"/>
        </dgm:presLayoutVars>
      </dgm:prSet>
      <dgm:spPr/>
    </dgm:pt>
    <dgm:pt modelId="{943AED49-1C80-4A53-90E8-B977DD3E72EB}" type="pres">
      <dgm:prSet presAssocID="{9E96A37D-5AFF-4695-9DEE-02475F27F502}" presName="spaceBetweenRectangles" presStyleCnt="0"/>
      <dgm:spPr/>
    </dgm:pt>
    <dgm:pt modelId="{993E3AD8-E646-4209-B0A0-9F6ADE50278C}" type="pres">
      <dgm:prSet presAssocID="{2EE93862-5DC7-4848-9B57-DBF80E159F4E}" presName="parentLin" presStyleCnt="0"/>
      <dgm:spPr/>
    </dgm:pt>
    <dgm:pt modelId="{31576C7B-D46C-4167-A892-694EF42E696A}" type="pres">
      <dgm:prSet presAssocID="{2EE93862-5DC7-4848-9B57-DBF80E159F4E}" presName="parentLeftMargin" presStyleLbl="node1" presStyleIdx="0" presStyleCnt="3"/>
      <dgm:spPr/>
      <dgm:t>
        <a:bodyPr/>
        <a:lstStyle/>
        <a:p>
          <a:endParaRPr lang="es-ES"/>
        </a:p>
      </dgm:t>
    </dgm:pt>
    <dgm:pt modelId="{2B0482C2-6369-4E37-B905-4041CD95709A}" type="pres">
      <dgm:prSet presAssocID="{2EE93862-5DC7-4848-9B57-DBF80E159F4E}" presName="parentText" presStyleLbl="node1" presStyleIdx="1" presStyleCnt="3" custScaleX="117956" custScaleY="110865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1A3C229-9CDA-4F7E-B2CD-E97342D3969C}" type="pres">
      <dgm:prSet presAssocID="{2EE93862-5DC7-4848-9B57-DBF80E159F4E}" presName="negativeSpace" presStyleCnt="0"/>
      <dgm:spPr/>
    </dgm:pt>
    <dgm:pt modelId="{CCCB4D26-8485-4EBC-B945-D2E1E4AE1333}" type="pres">
      <dgm:prSet presAssocID="{2EE93862-5DC7-4848-9B57-DBF80E159F4E}" presName="childText" presStyleLbl="conFgAcc1" presStyleIdx="1" presStyleCnt="3" custLinFactNeighborY="-1033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9D7AAF3-592D-4796-BBF6-80F97127293C}" type="pres">
      <dgm:prSet presAssocID="{3421FEAA-E06D-4F59-8DA8-D9C71ECFD66E}" presName="spaceBetweenRectangles" presStyleCnt="0"/>
      <dgm:spPr/>
    </dgm:pt>
    <dgm:pt modelId="{98B802E4-CDBA-4F56-A740-F04C4F4D98C9}" type="pres">
      <dgm:prSet presAssocID="{468D27DE-FF7D-4B59-B575-85AAA905F3BC}" presName="parentLin" presStyleCnt="0"/>
      <dgm:spPr/>
    </dgm:pt>
    <dgm:pt modelId="{A2584908-95A8-40FF-8F7B-B83243F9FD47}" type="pres">
      <dgm:prSet presAssocID="{468D27DE-FF7D-4B59-B575-85AAA905F3BC}" presName="parentLeftMargin" presStyleLbl="node1" presStyleIdx="1" presStyleCnt="3"/>
      <dgm:spPr/>
      <dgm:t>
        <a:bodyPr/>
        <a:lstStyle/>
        <a:p>
          <a:endParaRPr lang="es-ES"/>
        </a:p>
      </dgm:t>
    </dgm:pt>
    <dgm:pt modelId="{1C4B41DD-BEC6-477F-8B01-DA6DC9CA4CC8}" type="pres">
      <dgm:prSet presAssocID="{468D27DE-FF7D-4B59-B575-85AAA905F3BC}" presName="parentText" presStyleLbl="node1" presStyleIdx="2" presStyleCnt="3" custScaleX="117956" custScaleY="116144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D0DC1BA-EC82-4630-92F7-64C30E4DB5E4}" type="pres">
      <dgm:prSet presAssocID="{468D27DE-FF7D-4B59-B575-85AAA905F3BC}" presName="negativeSpace" presStyleCnt="0"/>
      <dgm:spPr/>
    </dgm:pt>
    <dgm:pt modelId="{4A72339A-55F9-4E6F-92F2-9198E9552189}" type="pres">
      <dgm:prSet presAssocID="{468D27DE-FF7D-4B59-B575-85AAA905F3BC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B1909821-3061-4EDD-B0D2-4D3575680166}" type="presOf" srcId="{2EE93862-5DC7-4848-9B57-DBF80E159F4E}" destId="{2B0482C2-6369-4E37-B905-4041CD95709A}" srcOrd="1" destOrd="0" presId="urn:microsoft.com/office/officeart/2005/8/layout/list1"/>
    <dgm:cxn modelId="{E5E7894A-97E8-4724-A556-3DC80488C727}" type="presOf" srcId="{28D2910F-65C8-4FA3-904C-1A455A09C5F9}" destId="{03A03CFD-AEF3-4B74-A0DD-E929F033B464}" srcOrd="0" destOrd="0" presId="urn:microsoft.com/office/officeart/2005/8/layout/list1"/>
    <dgm:cxn modelId="{09D48C74-39EE-44CB-8E8B-8FF71732CA73}" type="presOf" srcId="{468D27DE-FF7D-4B59-B575-85AAA905F3BC}" destId="{1C4B41DD-BEC6-477F-8B01-DA6DC9CA4CC8}" srcOrd="1" destOrd="0" presId="urn:microsoft.com/office/officeart/2005/8/layout/list1"/>
    <dgm:cxn modelId="{705BD13B-44FB-4B3C-B015-3D71B648ECF1}" type="presOf" srcId="{28D2910F-65C8-4FA3-904C-1A455A09C5F9}" destId="{30216973-73A8-434A-A495-4E455CD98D3B}" srcOrd="1" destOrd="0" presId="urn:microsoft.com/office/officeart/2005/8/layout/list1"/>
    <dgm:cxn modelId="{EE31868C-0935-4748-A727-E75449F24573}" srcId="{468D27DE-FF7D-4B59-B575-85AAA905F3BC}" destId="{FEB8F535-CD60-44E9-99A8-89DFDB52DCEB}" srcOrd="0" destOrd="0" parTransId="{F8423F6A-CBBF-446E-A796-2AF051C855B2}" sibTransId="{5D936630-D1F9-462D-898F-DE80A4236566}"/>
    <dgm:cxn modelId="{FC92CFE3-E98C-4087-8485-E11C23DA43DD}" type="presOf" srcId="{FEB8F535-CD60-44E9-99A8-89DFDB52DCEB}" destId="{4A72339A-55F9-4E6F-92F2-9198E9552189}" srcOrd="0" destOrd="0" presId="urn:microsoft.com/office/officeart/2005/8/layout/list1"/>
    <dgm:cxn modelId="{2FBD5CFC-9A9B-4944-B07E-6EE997F9F165}" type="presOf" srcId="{FE38019B-8F8D-4730-9E22-71FC2475B430}" destId="{302A9EEB-3246-4F75-986A-3812DB84FBF8}" srcOrd="0" destOrd="0" presId="urn:microsoft.com/office/officeart/2005/8/layout/list1"/>
    <dgm:cxn modelId="{C425569C-3837-4B90-B066-5CABED5737E8}" srcId="{FE38019B-8F8D-4730-9E22-71FC2475B430}" destId="{28D2910F-65C8-4FA3-904C-1A455A09C5F9}" srcOrd="0" destOrd="0" parTransId="{9A7A520B-259A-4638-9DC8-944829944EA7}" sibTransId="{9E96A37D-5AFF-4695-9DEE-02475F27F502}"/>
    <dgm:cxn modelId="{47AA9429-9E15-4A86-A7C8-C71071A8CEF3}" type="presOf" srcId="{164C97EE-6815-438E-A171-F6A7B1C0DAAD}" destId="{CCCB4D26-8485-4EBC-B945-D2E1E4AE1333}" srcOrd="0" destOrd="0" presId="urn:microsoft.com/office/officeart/2005/8/layout/list1"/>
    <dgm:cxn modelId="{18E22BB5-14EC-4D17-A34C-AA5D53CB27B8}" type="presOf" srcId="{468D27DE-FF7D-4B59-B575-85AAA905F3BC}" destId="{A2584908-95A8-40FF-8F7B-B83243F9FD47}" srcOrd="0" destOrd="0" presId="urn:microsoft.com/office/officeart/2005/8/layout/list1"/>
    <dgm:cxn modelId="{641A4080-CD2E-4963-B101-AA68864728DB}" srcId="{FE38019B-8F8D-4730-9E22-71FC2475B430}" destId="{468D27DE-FF7D-4B59-B575-85AAA905F3BC}" srcOrd="2" destOrd="0" parTransId="{66807AAF-0C39-44D3-9C54-D806D2C13BC0}" sibTransId="{DB76B950-D9A2-4FF6-8E40-AEA36079B50D}"/>
    <dgm:cxn modelId="{7F1C50C6-08DE-452F-BCF1-19C094C91507}" srcId="{2EE93862-5DC7-4848-9B57-DBF80E159F4E}" destId="{164C97EE-6815-438E-A171-F6A7B1C0DAAD}" srcOrd="0" destOrd="0" parTransId="{20C68D5D-DE42-4167-B852-CEF33D6DFBEC}" sibTransId="{505ABE01-1D3C-4F1E-A740-661E81CD3CC1}"/>
    <dgm:cxn modelId="{6061B4DD-A44C-482D-AD76-1DF4AB6D9B47}" srcId="{FE38019B-8F8D-4730-9E22-71FC2475B430}" destId="{2EE93862-5DC7-4848-9B57-DBF80E159F4E}" srcOrd="1" destOrd="0" parTransId="{D538BBD1-6544-4C36-A20D-A485E7A54DB8}" sibTransId="{3421FEAA-E06D-4F59-8DA8-D9C71ECFD66E}"/>
    <dgm:cxn modelId="{92C65BD3-358B-4217-9E0B-60E28B45CFF0}" type="presOf" srcId="{2EE93862-5DC7-4848-9B57-DBF80E159F4E}" destId="{31576C7B-D46C-4167-A892-694EF42E696A}" srcOrd="0" destOrd="0" presId="urn:microsoft.com/office/officeart/2005/8/layout/list1"/>
    <dgm:cxn modelId="{34F5C2C3-C2C9-44B0-BA15-9F5D27D4378F}" type="presParOf" srcId="{302A9EEB-3246-4F75-986A-3812DB84FBF8}" destId="{C33AC9C8-8549-4D55-8ABF-701B6BAF1A70}" srcOrd="0" destOrd="0" presId="urn:microsoft.com/office/officeart/2005/8/layout/list1"/>
    <dgm:cxn modelId="{54F78EF6-44B2-4A59-8D7F-12B0C45398E1}" type="presParOf" srcId="{C33AC9C8-8549-4D55-8ABF-701B6BAF1A70}" destId="{03A03CFD-AEF3-4B74-A0DD-E929F033B464}" srcOrd="0" destOrd="0" presId="urn:microsoft.com/office/officeart/2005/8/layout/list1"/>
    <dgm:cxn modelId="{59A3BAA7-D80F-4765-AB78-062EDD73B35B}" type="presParOf" srcId="{C33AC9C8-8549-4D55-8ABF-701B6BAF1A70}" destId="{30216973-73A8-434A-A495-4E455CD98D3B}" srcOrd="1" destOrd="0" presId="urn:microsoft.com/office/officeart/2005/8/layout/list1"/>
    <dgm:cxn modelId="{7641F47A-4477-42A6-B7DB-C8105F15A3F0}" type="presParOf" srcId="{302A9EEB-3246-4F75-986A-3812DB84FBF8}" destId="{C5E78802-13A2-42AF-9820-A7490EA7C5B7}" srcOrd="1" destOrd="0" presId="urn:microsoft.com/office/officeart/2005/8/layout/list1"/>
    <dgm:cxn modelId="{9CAC12AC-5470-42F9-A6C9-463AB97FA274}" type="presParOf" srcId="{302A9EEB-3246-4F75-986A-3812DB84FBF8}" destId="{B2F18FA6-7384-4B92-89ED-E17FECE30B66}" srcOrd="2" destOrd="0" presId="urn:microsoft.com/office/officeart/2005/8/layout/list1"/>
    <dgm:cxn modelId="{0B1E856D-D984-44C2-9D7D-CF9128A57208}" type="presParOf" srcId="{302A9EEB-3246-4F75-986A-3812DB84FBF8}" destId="{943AED49-1C80-4A53-90E8-B977DD3E72EB}" srcOrd="3" destOrd="0" presId="urn:microsoft.com/office/officeart/2005/8/layout/list1"/>
    <dgm:cxn modelId="{D95CC17A-291F-40CC-A0A9-A89C421DF770}" type="presParOf" srcId="{302A9EEB-3246-4F75-986A-3812DB84FBF8}" destId="{993E3AD8-E646-4209-B0A0-9F6ADE50278C}" srcOrd="4" destOrd="0" presId="urn:microsoft.com/office/officeart/2005/8/layout/list1"/>
    <dgm:cxn modelId="{AC443570-070F-48FA-A242-74B12982FE9D}" type="presParOf" srcId="{993E3AD8-E646-4209-B0A0-9F6ADE50278C}" destId="{31576C7B-D46C-4167-A892-694EF42E696A}" srcOrd="0" destOrd="0" presId="urn:microsoft.com/office/officeart/2005/8/layout/list1"/>
    <dgm:cxn modelId="{1F955F4B-AFDC-4F83-B41A-64B9EA402E57}" type="presParOf" srcId="{993E3AD8-E646-4209-B0A0-9F6ADE50278C}" destId="{2B0482C2-6369-4E37-B905-4041CD95709A}" srcOrd="1" destOrd="0" presId="urn:microsoft.com/office/officeart/2005/8/layout/list1"/>
    <dgm:cxn modelId="{35054692-9325-4A8C-B2D1-12B31C0A6E37}" type="presParOf" srcId="{302A9EEB-3246-4F75-986A-3812DB84FBF8}" destId="{01A3C229-9CDA-4F7E-B2CD-E97342D3969C}" srcOrd="5" destOrd="0" presId="urn:microsoft.com/office/officeart/2005/8/layout/list1"/>
    <dgm:cxn modelId="{2B84EA6F-AA48-4064-B2B7-07207493AEFD}" type="presParOf" srcId="{302A9EEB-3246-4F75-986A-3812DB84FBF8}" destId="{CCCB4D26-8485-4EBC-B945-D2E1E4AE1333}" srcOrd="6" destOrd="0" presId="urn:microsoft.com/office/officeart/2005/8/layout/list1"/>
    <dgm:cxn modelId="{E92DBA82-1A4A-4AC7-BE23-9E4EEDF96A5B}" type="presParOf" srcId="{302A9EEB-3246-4F75-986A-3812DB84FBF8}" destId="{09D7AAF3-592D-4796-BBF6-80F97127293C}" srcOrd="7" destOrd="0" presId="urn:microsoft.com/office/officeart/2005/8/layout/list1"/>
    <dgm:cxn modelId="{D2394F22-B475-4C68-801E-5C2E468C8DE9}" type="presParOf" srcId="{302A9EEB-3246-4F75-986A-3812DB84FBF8}" destId="{98B802E4-CDBA-4F56-A740-F04C4F4D98C9}" srcOrd="8" destOrd="0" presId="urn:microsoft.com/office/officeart/2005/8/layout/list1"/>
    <dgm:cxn modelId="{5AC89A56-8B54-412B-8064-CF1A172979E2}" type="presParOf" srcId="{98B802E4-CDBA-4F56-A740-F04C4F4D98C9}" destId="{A2584908-95A8-40FF-8F7B-B83243F9FD47}" srcOrd="0" destOrd="0" presId="urn:microsoft.com/office/officeart/2005/8/layout/list1"/>
    <dgm:cxn modelId="{3007EFCA-E256-49F9-B90A-C2D0DB00BBC6}" type="presParOf" srcId="{98B802E4-CDBA-4F56-A740-F04C4F4D98C9}" destId="{1C4B41DD-BEC6-477F-8B01-DA6DC9CA4CC8}" srcOrd="1" destOrd="0" presId="urn:microsoft.com/office/officeart/2005/8/layout/list1"/>
    <dgm:cxn modelId="{CFE46320-8EDE-4ED7-8CB3-DC6A89761230}" type="presParOf" srcId="{302A9EEB-3246-4F75-986A-3812DB84FBF8}" destId="{0D0DC1BA-EC82-4630-92F7-64C30E4DB5E4}" srcOrd="9" destOrd="0" presId="urn:microsoft.com/office/officeart/2005/8/layout/list1"/>
    <dgm:cxn modelId="{263627A5-CBEE-4C84-BBBA-717C70B6A9D7}" type="presParOf" srcId="{302A9EEB-3246-4F75-986A-3812DB84FBF8}" destId="{4A72339A-55F9-4E6F-92F2-9198E9552189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6185D06-4DF0-4D0D-9155-992DE231FE0C}">
      <dsp:nvSpPr>
        <dsp:cNvPr id="0" name=""/>
        <dsp:cNvSpPr/>
      </dsp:nvSpPr>
      <dsp:spPr>
        <a:xfrm>
          <a:off x="0" y="250729"/>
          <a:ext cx="2889379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375C4506-0EFC-4EC5-9B67-DD2B88E59993}">
      <dsp:nvSpPr>
        <dsp:cNvPr id="0" name=""/>
        <dsp:cNvSpPr/>
      </dsp:nvSpPr>
      <dsp:spPr>
        <a:xfrm>
          <a:off x="252979" y="44089"/>
          <a:ext cx="3541712" cy="413280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868" tIns="0" rIns="133868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1" kern="1200" dirty="0" smtClean="0">
              <a:effectLst/>
              <a:latin typeface="Calibri" pitchFamily="34" charset="0"/>
              <a:cs typeface="Calibri" pitchFamily="34" charset="0"/>
            </a:rPr>
            <a:t>Alejandra Eugenio Rivas</a:t>
          </a:r>
          <a:endParaRPr lang="es-EC" sz="1800" b="1" kern="1200" dirty="0">
            <a:effectLst/>
            <a:latin typeface="Calibri" pitchFamily="34" charset="0"/>
            <a:cs typeface="Calibri" pitchFamily="34" charset="0"/>
          </a:endParaRPr>
        </a:p>
      </dsp:txBody>
      <dsp:txXfrm>
        <a:off x="273154" y="64264"/>
        <a:ext cx="3501362" cy="372930"/>
      </dsp:txXfrm>
    </dsp:sp>
    <dsp:sp modelId="{33BAE8EB-9056-4F22-AD66-28C7A34DD081}">
      <dsp:nvSpPr>
        <dsp:cNvPr id="0" name=""/>
        <dsp:cNvSpPr/>
      </dsp:nvSpPr>
      <dsp:spPr>
        <a:xfrm>
          <a:off x="0" y="885770"/>
          <a:ext cx="2479957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80000"/>
              <a:hueOff val="272836"/>
              <a:satOff val="-24916"/>
              <a:lumOff val="19195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7F62CC0-B78B-4C1C-A95F-AA6312258283}">
      <dsp:nvSpPr>
        <dsp:cNvPr id="0" name=""/>
        <dsp:cNvSpPr/>
      </dsp:nvSpPr>
      <dsp:spPr>
        <a:xfrm>
          <a:off x="252979" y="679129"/>
          <a:ext cx="3541712" cy="413280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272836"/>
                <a:satOff val="-24916"/>
                <a:lumOff val="1919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272836"/>
                <a:satOff val="-24916"/>
                <a:lumOff val="1919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272836"/>
                <a:satOff val="-24916"/>
                <a:lumOff val="1919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868" tIns="0" rIns="133868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1" kern="1200" dirty="0" smtClean="0">
              <a:latin typeface="Calibri" pitchFamily="34" charset="0"/>
              <a:cs typeface="Calibri" pitchFamily="34" charset="0"/>
            </a:rPr>
            <a:t>Miguel Parrales Espinoza</a:t>
          </a:r>
          <a:endParaRPr lang="es-EC" sz="1800" b="1" kern="1200" dirty="0">
            <a:latin typeface="Calibri" pitchFamily="34" charset="0"/>
            <a:cs typeface="Calibri" pitchFamily="34" charset="0"/>
          </a:endParaRPr>
        </a:p>
      </dsp:txBody>
      <dsp:txXfrm>
        <a:off x="273154" y="699304"/>
        <a:ext cx="3501362" cy="372930"/>
      </dsp:txXfrm>
    </dsp:sp>
    <dsp:sp modelId="{E2B1A6E7-AB1C-40BE-BEE5-ECEEE16DF628}">
      <dsp:nvSpPr>
        <dsp:cNvPr id="0" name=""/>
        <dsp:cNvSpPr/>
      </dsp:nvSpPr>
      <dsp:spPr>
        <a:xfrm>
          <a:off x="0" y="1520810"/>
          <a:ext cx="2043213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80000"/>
              <a:hueOff val="545673"/>
              <a:satOff val="-49833"/>
              <a:lumOff val="3839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3F8E54F8-5996-4BB9-B55C-4D361F4C8765}">
      <dsp:nvSpPr>
        <dsp:cNvPr id="0" name=""/>
        <dsp:cNvSpPr/>
      </dsp:nvSpPr>
      <dsp:spPr>
        <a:xfrm>
          <a:off x="252979" y="1314170"/>
          <a:ext cx="3541712" cy="413280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545673"/>
                <a:satOff val="-49833"/>
                <a:lumOff val="3839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545673"/>
                <a:satOff val="-49833"/>
                <a:lumOff val="3839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545673"/>
                <a:satOff val="-49833"/>
                <a:lumOff val="3839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3868" tIns="0" rIns="133868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1" kern="1200" dirty="0" smtClean="0">
              <a:latin typeface="Calibri" pitchFamily="34" charset="0"/>
              <a:cs typeface="Calibri" pitchFamily="34" charset="0"/>
            </a:rPr>
            <a:t>Paúl Sabando Sudario</a:t>
          </a:r>
          <a:endParaRPr lang="es-EC" sz="1800" b="1" kern="1200" dirty="0">
            <a:latin typeface="Calibri" pitchFamily="34" charset="0"/>
            <a:cs typeface="Calibri" pitchFamily="34" charset="0"/>
          </a:endParaRPr>
        </a:p>
      </dsp:txBody>
      <dsp:txXfrm>
        <a:off x="273154" y="1334345"/>
        <a:ext cx="3501362" cy="37293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C4CDF0-B00F-4334-8304-AE8F5EFE534E}">
      <dsp:nvSpPr>
        <dsp:cNvPr id="0" name=""/>
        <dsp:cNvSpPr/>
      </dsp:nvSpPr>
      <dsp:spPr>
        <a:xfrm>
          <a:off x="0" y="142590"/>
          <a:ext cx="4193336" cy="31460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BDAA9AC-9B40-475F-AE88-5C5C7579A1EE}">
      <dsp:nvSpPr>
        <dsp:cNvPr id="0" name=""/>
        <dsp:cNvSpPr/>
      </dsp:nvSpPr>
      <dsp:spPr>
        <a:xfrm>
          <a:off x="209666" y="0"/>
          <a:ext cx="2769929" cy="395841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0949" tIns="0" rIns="110949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Información / Datos</a:t>
          </a:r>
          <a:endParaRPr lang="es-ES" sz="1800" kern="1200" dirty="0">
            <a:latin typeface="Calibri" pitchFamily="34" charset="0"/>
            <a:cs typeface="Calibri" pitchFamily="34" charset="0"/>
          </a:endParaRPr>
        </a:p>
      </dsp:txBody>
      <dsp:txXfrm>
        <a:off x="228989" y="19323"/>
        <a:ext cx="2731283" cy="357195"/>
      </dsp:txXfrm>
    </dsp:sp>
    <dsp:sp modelId="{F2CA3AC2-A9B7-4684-BBEF-ACAF682A5B81}">
      <dsp:nvSpPr>
        <dsp:cNvPr id="0" name=""/>
        <dsp:cNvSpPr/>
      </dsp:nvSpPr>
      <dsp:spPr>
        <a:xfrm>
          <a:off x="0" y="895420"/>
          <a:ext cx="4193336" cy="65550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50000"/>
              <a:hueOff val="386279"/>
              <a:satOff val="-36135"/>
              <a:lumOff val="35843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25449" tIns="270764" rIns="325449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C" sz="1800" kern="1200" dirty="0" smtClean="0">
              <a:latin typeface="Calibri" pitchFamily="34" charset="0"/>
              <a:cs typeface="Calibri" pitchFamily="34" charset="0"/>
            </a:rPr>
            <a:t>(C2) - (L1) - [D] - </a:t>
          </a:r>
          <a:r>
            <a:rPr lang="es-ES" sz="1800" kern="1200" dirty="0" smtClean="0">
              <a:latin typeface="Calibri" pitchFamily="34" charset="0"/>
              <a:cs typeface="Calibri" pitchFamily="34" charset="0"/>
            </a:rPr>
            <a:t>[I] - [C] </a:t>
          </a:r>
          <a:endParaRPr lang="es-ES" sz="1800" kern="1200" dirty="0">
            <a:latin typeface="Calibri" pitchFamily="34" charset="0"/>
            <a:cs typeface="Calibri" pitchFamily="34" charset="0"/>
          </a:endParaRPr>
        </a:p>
      </dsp:txBody>
      <dsp:txXfrm>
        <a:off x="0" y="895420"/>
        <a:ext cx="4193336" cy="655503"/>
      </dsp:txXfrm>
    </dsp:sp>
    <dsp:sp modelId="{4708A09C-38BC-45D8-B5B8-6A68B9E0731D}">
      <dsp:nvSpPr>
        <dsp:cNvPr id="0" name=""/>
        <dsp:cNvSpPr/>
      </dsp:nvSpPr>
      <dsp:spPr>
        <a:xfrm>
          <a:off x="209666" y="625512"/>
          <a:ext cx="3456856" cy="352539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386279"/>
                <a:satOff val="-36135"/>
                <a:lumOff val="35843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386279"/>
                <a:satOff val="-36135"/>
                <a:lumOff val="35843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386279"/>
                <a:satOff val="-36135"/>
                <a:lumOff val="3584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0949" tIns="0" rIns="11094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1" kern="1200" dirty="0" smtClean="0">
              <a:latin typeface="Calibri" pitchFamily="34" charset="0"/>
              <a:cs typeface="Calibri" pitchFamily="34" charset="0"/>
            </a:rPr>
            <a:t>Difusión de software dañino [</a:t>
          </a:r>
          <a:r>
            <a:rPr lang="es-EC" sz="1800" b="1" kern="1200" dirty="0" err="1" smtClean="0">
              <a:latin typeface="Calibri" pitchFamily="34" charset="0"/>
              <a:cs typeface="Calibri" pitchFamily="34" charset="0"/>
            </a:rPr>
            <a:t>E.5</a:t>
          </a:r>
          <a:r>
            <a:rPr lang="es-EC" sz="1800" b="1" kern="1200" dirty="0" smtClean="0">
              <a:latin typeface="Calibri" pitchFamily="34" charset="0"/>
              <a:cs typeface="Calibri" pitchFamily="34" charset="0"/>
            </a:rPr>
            <a:t>] </a:t>
          </a:r>
          <a:endParaRPr lang="es-ES" sz="1800" b="1" kern="1200" dirty="0">
            <a:latin typeface="Calibri" pitchFamily="34" charset="0"/>
            <a:cs typeface="Calibri" pitchFamily="34" charset="0"/>
          </a:endParaRPr>
        </a:p>
      </dsp:txBody>
      <dsp:txXfrm>
        <a:off x="226876" y="642722"/>
        <a:ext cx="3422436" cy="318119"/>
      </dsp:txXfrm>
    </dsp:sp>
    <dsp:sp modelId="{5A3E2EFC-6DBD-40A4-A2B7-FA2ABEF90FB3}">
      <dsp:nvSpPr>
        <dsp:cNvPr id="0" name=""/>
        <dsp:cNvSpPr/>
      </dsp:nvSpPr>
      <dsp:spPr>
        <a:xfrm>
          <a:off x="0" y="1866025"/>
          <a:ext cx="4193336" cy="58560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50000"/>
              <a:hueOff val="386279"/>
              <a:satOff val="-36135"/>
              <a:lumOff val="35843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25449" tIns="270764" rIns="325449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C" sz="1800" kern="1200" dirty="0" smtClean="0">
              <a:latin typeface="Calibri" pitchFamily="34" charset="0"/>
              <a:cs typeface="Calibri" pitchFamily="34" charset="0"/>
            </a:rPr>
            <a:t>(C1) - (C2) - (L1) - [D]</a:t>
          </a:r>
          <a:endParaRPr lang="es-ES" sz="1800" kern="1200" dirty="0">
            <a:latin typeface="Calibri" pitchFamily="34" charset="0"/>
            <a:cs typeface="Calibri" pitchFamily="34" charset="0"/>
          </a:endParaRPr>
        </a:p>
      </dsp:txBody>
      <dsp:txXfrm>
        <a:off x="0" y="1866025"/>
        <a:ext cx="4193336" cy="585605"/>
      </dsp:txXfrm>
    </dsp:sp>
    <dsp:sp modelId="{BDBA386B-5B9B-4439-8EE0-9489B12D80E6}">
      <dsp:nvSpPr>
        <dsp:cNvPr id="0" name=""/>
        <dsp:cNvSpPr/>
      </dsp:nvSpPr>
      <dsp:spPr>
        <a:xfrm>
          <a:off x="227654" y="1665478"/>
          <a:ext cx="3483509" cy="343414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386279"/>
                <a:satOff val="-36135"/>
                <a:lumOff val="35843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386279"/>
                <a:satOff val="-36135"/>
                <a:lumOff val="35843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386279"/>
                <a:satOff val="-36135"/>
                <a:lumOff val="3584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0949" tIns="0" rIns="11094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1" kern="1200" dirty="0" smtClean="0">
              <a:latin typeface="Calibri" pitchFamily="34" charset="0"/>
              <a:cs typeface="Calibri" pitchFamily="34" charset="0"/>
            </a:rPr>
            <a:t>Destrucción la información [</a:t>
          </a:r>
          <a:r>
            <a:rPr lang="es-EC" sz="1800" b="1" kern="1200" dirty="0" err="1" smtClean="0">
              <a:latin typeface="Calibri" pitchFamily="34" charset="0"/>
              <a:cs typeface="Calibri" pitchFamily="34" charset="0"/>
            </a:rPr>
            <a:t>A.13</a:t>
          </a:r>
          <a:r>
            <a:rPr lang="es-EC" sz="1800" b="1" kern="1200" dirty="0" smtClean="0">
              <a:latin typeface="Calibri" pitchFamily="34" charset="0"/>
              <a:cs typeface="Calibri" pitchFamily="34" charset="0"/>
            </a:rPr>
            <a:t>] </a:t>
          </a:r>
          <a:endParaRPr lang="es-ES" sz="1800" b="1" kern="1200" dirty="0">
            <a:latin typeface="Calibri" pitchFamily="34" charset="0"/>
            <a:cs typeface="Calibri" pitchFamily="34" charset="0"/>
          </a:endParaRPr>
        </a:p>
      </dsp:txBody>
      <dsp:txXfrm>
        <a:off x="244418" y="1682242"/>
        <a:ext cx="3449981" cy="309886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C30FD1-6D78-4BD8-8F5C-AE42CC49A91E}">
      <dsp:nvSpPr>
        <dsp:cNvPr id="0" name=""/>
        <dsp:cNvSpPr/>
      </dsp:nvSpPr>
      <dsp:spPr>
        <a:xfrm>
          <a:off x="1250" y="111"/>
          <a:ext cx="389229" cy="389229"/>
        </a:xfrm>
        <a:prstGeom prst="ellipse">
          <a:avLst/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b="1" kern="1200" dirty="0" smtClean="0">
              <a:latin typeface="Calibri" pitchFamily="34" charset="0"/>
              <a:cs typeface="Calibri" pitchFamily="34" charset="0"/>
            </a:rPr>
            <a:t>F</a:t>
          </a:r>
          <a:endParaRPr lang="es-ES" sz="2400" b="1" kern="1200" dirty="0">
            <a:latin typeface="Calibri" pitchFamily="34" charset="0"/>
            <a:cs typeface="Calibri" pitchFamily="34" charset="0"/>
          </a:endParaRPr>
        </a:p>
      </dsp:txBody>
      <dsp:txXfrm>
        <a:off x="58251" y="57112"/>
        <a:ext cx="275227" cy="275227"/>
      </dsp:txXfrm>
    </dsp:sp>
    <dsp:sp modelId="{DED9A101-1F7F-4F23-9034-9AED2A0F6434}">
      <dsp:nvSpPr>
        <dsp:cNvPr id="0" name=""/>
        <dsp:cNvSpPr/>
      </dsp:nvSpPr>
      <dsp:spPr>
        <a:xfrm>
          <a:off x="422086" y="81849"/>
          <a:ext cx="225753" cy="225753"/>
        </a:xfrm>
        <a:prstGeom prst="mathMultiply">
          <a:avLst/>
        </a:prstGeom>
        <a:gradFill rotWithShape="0">
          <a:gsLst>
            <a:gs pos="0">
              <a:schemeClr val="accent2">
                <a:shade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shade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shade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400" b="1" kern="1200">
            <a:latin typeface="Calibri" pitchFamily="34" charset="0"/>
            <a:cs typeface="Calibri" pitchFamily="34" charset="0"/>
          </a:endParaRPr>
        </a:p>
      </dsp:txBody>
      <dsp:txXfrm>
        <a:off x="457534" y="117297"/>
        <a:ext cx="154857" cy="154857"/>
      </dsp:txXfrm>
    </dsp:sp>
    <dsp:sp modelId="{39D1B608-95C3-4E52-B9A6-DD4A80F0C641}">
      <dsp:nvSpPr>
        <dsp:cNvPr id="0" name=""/>
        <dsp:cNvSpPr/>
      </dsp:nvSpPr>
      <dsp:spPr>
        <a:xfrm>
          <a:off x="679444" y="111"/>
          <a:ext cx="389229" cy="389229"/>
        </a:xfrm>
        <a:prstGeom prst="ellipse">
          <a:avLst/>
        </a:prstGeom>
        <a:gradFill rotWithShape="0">
          <a:gsLst>
            <a:gs pos="0">
              <a:schemeClr val="accent2">
                <a:shade val="80000"/>
                <a:hueOff val="210733"/>
                <a:satOff val="-16931"/>
                <a:lumOff val="16655"/>
                <a:alphaOff val="0"/>
                <a:shade val="51000"/>
                <a:satMod val="130000"/>
              </a:schemeClr>
            </a:gs>
            <a:gs pos="80000">
              <a:schemeClr val="accent2">
                <a:shade val="80000"/>
                <a:hueOff val="210733"/>
                <a:satOff val="-16931"/>
                <a:lumOff val="16655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210733"/>
                <a:satOff val="-16931"/>
                <a:lumOff val="1665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b="1" kern="1200" dirty="0" smtClean="0">
              <a:latin typeface="Calibri" pitchFamily="34" charset="0"/>
              <a:cs typeface="Calibri" pitchFamily="34" charset="0"/>
            </a:rPr>
            <a:t>I</a:t>
          </a:r>
          <a:endParaRPr lang="es-ES" sz="2400" b="1" kern="1200" dirty="0">
            <a:latin typeface="Calibri" pitchFamily="34" charset="0"/>
            <a:cs typeface="Calibri" pitchFamily="34" charset="0"/>
          </a:endParaRPr>
        </a:p>
      </dsp:txBody>
      <dsp:txXfrm>
        <a:off x="736445" y="57112"/>
        <a:ext cx="275227" cy="275227"/>
      </dsp:txXfrm>
    </dsp:sp>
    <dsp:sp modelId="{4759E8C9-D21A-4CD1-B181-6A28EDC136F0}">
      <dsp:nvSpPr>
        <dsp:cNvPr id="0" name=""/>
        <dsp:cNvSpPr/>
      </dsp:nvSpPr>
      <dsp:spPr>
        <a:xfrm>
          <a:off x="1100279" y="81849"/>
          <a:ext cx="225753" cy="225753"/>
        </a:xfrm>
        <a:prstGeom prst="mathEqual">
          <a:avLst/>
        </a:prstGeom>
        <a:gradFill rotWithShape="0">
          <a:gsLst>
            <a:gs pos="0">
              <a:schemeClr val="accent2">
                <a:shade val="90000"/>
                <a:hueOff val="421512"/>
                <a:satOff val="-33437"/>
                <a:lumOff val="31349"/>
                <a:alphaOff val="0"/>
                <a:shade val="51000"/>
                <a:satMod val="130000"/>
              </a:schemeClr>
            </a:gs>
            <a:gs pos="80000">
              <a:schemeClr val="accent2">
                <a:shade val="90000"/>
                <a:hueOff val="421512"/>
                <a:satOff val="-33437"/>
                <a:lumOff val="31349"/>
                <a:alphaOff val="0"/>
                <a:shade val="93000"/>
                <a:satMod val="130000"/>
              </a:schemeClr>
            </a:gs>
            <a:gs pos="100000">
              <a:schemeClr val="accent2">
                <a:shade val="90000"/>
                <a:hueOff val="421512"/>
                <a:satOff val="-33437"/>
                <a:lumOff val="3134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400" b="1" kern="1200">
            <a:latin typeface="Calibri" pitchFamily="34" charset="0"/>
            <a:cs typeface="Calibri" pitchFamily="34" charset="0"/>
          </a:endParaRPr>
        </a:p>
      </dsp:txBody>
      <dsp:txXfrm>
        <a:off x="1130203" y="128354"/>
        <a:ext cx="165905" cy="132743"/>
      </dsp:txXfrm>
    </dsp:sp>
    <dsp:sp modelId="{8FDD9D4B-79DE-4C05-BD7D-68C41C84E676}">
      <dsp:nvSpPr>
        <dsp:cNvPr id="0" name=""/>
        <dsp:cNvSpPr/>
      </dsp:nvSpPr>
      <dsp:spPr>
        <a:xfrm>
          <a:off x="1357638" y="111"/>
          <a:ext cx="389229" cy="389229"/>
        </a:xfrm>
        <a:prstGeom prst="ellipse">
          <a:avLst/>
        </a:prstGeom>
        <a:gradFill rotWithShape="0">
          <a:gsLst>
            <a:gs pos="0">
              <a:schemeClr val="accent2">
                <a:shade val="80000"/>
                <a:hueOff val="421467"/>
                <a:satOff val="-33863"/>
                <a:lumOff val="33309"/>
                <a:alphaOff val="0"/>
                <a:shade val="51000"/>
                <a:satMod val="130000"/>
              </a:schemeClr>
            </a:gs>
            <a:gs pos="80000">
              <a:schemeClr val="accent2">
                <a:shade val="80000"/>
                <a:hueOff val="421467"/>
                <a:satOff val="-33863"/>
                <a:lumOff val="33309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421467"/>
                <a:satOff val="-33863"/>
                <a:lumOff val="3330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b="1" kern="1200" dirty="0" smtClean="0">
              <a:latin typeface="Calibri" pitchFamily="34" charset="0"/>
              <a:cs typeface="Calibri" pitchFamily="34" charset="0"/>
            </a:rPr>
            <a:t>R</a:t>
          </a:r>
          <a:endParaRPr lang="es-ES" sz="2400" b="1" kern="1200" dirty="0">
            <a:latin typeface="Calibri" pitchFamily="34" charset="0"/>
            <a:cs typeface="Calibri" pitchFamily="34" charset="0"/>
          </a:endParaRPr>
        </a:p>
      </dsp:txBody>
      <dsp:txXfrm>
        <a:off x="1414639" y="57112"/>
        <a:ext cx="275227" cy="275227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7723AD-8BC4-4786-B7B1-D137A241F56D}">
      <dsp:nvSpPr>
        <dsp:cNvPr id="0" name=""/>
        <dsp:cNvSpPr/>
      </dsp:nvSpPr>
      <dsp:spPr>
        <a:xfrm>
          <a:off x="-2643797" y="-407874"/>
          <a:ext cx="3155716" cy="3155716"/>
        </a:xfrm>
        <a:prstGeom prst="blockArc">
          <a:avLst>
            <a:gd name="adj1" fmla="val 18900000"/>
            <a:gd name="adj2" fmla="val 2700000"/>
            <a:gd name="adj3" fmla="val 684"/>
          </a:avLst>
        </a:prstGeom>
        <a:noFill/>
        <a:ln w="25400" cap="flat" cmpd="sng" algn="ctr">
          <a:solidFill>
            <a:schemeClr val="accent1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2F956F-3C29-429E-8D84-457C4F2EE4EB}">
      <dsp:nvSpPr>
        <dsp:cNvPr id="0" name=""/>
        <dsp:cNvSpPr/>
      </dsp:nvSpPr>
      <dsp:spPr>
        <a:xfrm>
          <a:off x="268750" y="179896"/>
          <a:ext cx="1691749" cy="35998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85735" tIns="50800" rIns="50800" bIns="508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1" kern="1200" dirty="0" smtClean="0">
              <a:latin typeface="Calibri" pitchFamily="34" charset="0"/>
              <a:cs typeface="Calibri" pitchFamily="34" charset="0"/>
            </a:rPr>
            <a:t>Reducir</a:t>
          </a:r>
          <a:endParaRPr lang="es-ES" sz="2000" b="1" kern="1200" dirty="0">
            <a:latin typeface="Calibri" pitchFamily="34" charset="0"/>
            <a:cs typeface="Calibri" pitchFamily="34" charset="0"/>
          </a:endParaRPr>
        </a:p>
      </dsp:txBody>
      <dsp:txXfrm>
        <a:off x="268750" y="179896"/>
        <a:ext cx="1691749" cy="359980"/>
      </dsp:txXfrm>
    </dsp:sp>
    <dsp:sp modelId="{81117F07-03D0-4F23-B45C-2BFC20BE2D34}">
      <dsp:nvSpPr>
        <dsp:cNvPr id="0" name=""/>
        <dsp:cNvSpPr/>
      </dsp:nvSpPr>
      <dsp:spPr>
        <a:xfrm>
          <a:off x="43762" y="134899"/>
          <a:ext cx="449975" cy="44997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D82B834B-4B4D-4786-9D7E-59628801BAA5}">
      <dsp:nvSpPr>
        <dsp:cNvPr id="0" name=""/>
        <dsp:cNvSpPr/>
      </dsp:nvSpPr>
      <dsp:spPr>
        <a:xfrm>
          <a:off x="475135" y="719961"/>
          <a:ext cx="1485363" cy="35998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181891"/>
                <a:satOff val="-16611"/>
                <a:lumOff val="12797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81891"/>
                <a:satOff val="-16611"/>
                <a:lumOff val="12797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81891"/>
                <a:satOff val="-16611"/>
                <a:lumOff val="1279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85735" tIns="50800" rIns="50800" bIns="508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1" kern="1200" smtClean="0">
              <a:latin typeface="Calibri" pitchFamily="34" charset="0"/>
              <a:cs typeface="Calibri" pitchFamily="34" charset="0"/>
            </a:rPr>
            <a:t>Aceptar</a:t>
          </a:r>
          <a:endParaRPr lang="es-ES" sz="2000" b="1" kern="1200" dirty="0">
            <a:latin typeface="Calibri" pitchFamily="34" charset="0"/>
            <a:cs typeface="Calibri" pitchFamily="34" charset="0"/>
          </a:endParaRPr>
        </a:p>
      </dsp:txBody>
      <dsp:txXfrm>
        <a:off x="475135" y="719961"/>
        <a:ext cx="1485363" cy="359980"/>
      </dsp:txXfrm>
    </dsp:sp>
    <dsp:sp modelId="{BD3D056E-4A34-4467-96EC-B61FA4D22EBE}">
      <dsp:nvSpPr>
        <dsp:cNvPr id="0" name=""/>
        <dsp:cNvSpPr/>
      </dsp:nvSpPr>
      <dsp:spPr>
        <a:xfrm>
          <a:off x="250147" y="674963"/>
          <a:ext cx="449975" cy="44997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80000"/>
              <a:hueOff val="181891"/>
              <a:satOff val="-16611"/>
              <a:lumOff val="12797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272FEB9-592D-4333-99DB-8051B71CF1C6}">
      <dsp:nvSpPr>
        <dsp:cNvPr id="0" name=""/>
        <dsp:cNvSpPr/>
      </dsp:nvSpPr>
      <dsp:spPr>
        <a:xfrm>
          <a:off x="475135" y="1260025"/>
          <a:ext cx="1485363" cy="35998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363782"/>
                <a:satOff val="-33222"/>
                <a:lumOff val="25593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363782"/>
                <a:satOff val="-33222"/>
                <a:lumOff val="25593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363782"/>
                <a:satOff val="-33222"/>
                <a:lumOff val="2559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85735" tIns="50800" rIns="50800" bIns="508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1" kern="1200" dirty="0" smtClean="0">
              <a:latin typeface="Calibri" pitchFamily="34" charset="0"/>
              <a:cs typeface="Calibri" pitchFamily="34" charset="0"/>
            </a:rPr>
            <a:t>Transferir</a:t>
          </a:r>
          <a:endParaRPr lang="es-ES" sz="2000" b="1" kern="1200" dirty="0">
            <a:latin typeface="Calibri" pitchFamily="34" charset="0"/>
            <a:cs typeface="Calibri" pitchFamily="34" charset="0"/>
          </a:endParaRPr>
        </a:p>
      </dsp:txBody>
      <dsp:txXfrm>
        <a:off x="475135" y="1260025"/>
        <a:ext cx="1485363" cy="359980"/>
      </dsp:txXfrm>
    </dsp:sp>
    <dsp:sp modelId="{CA1A3EB5-8B6A-4273-BB29-963C1156F016}">
      <dsp:nvSpPr>
        <dsp:cNvPr id="0" name=""/>
        <dsp:cNvSpPr/>
      </dsp:nvSpPr>
      <dsp:spPr>
        <a:xfrm>
          <a:off x="250147" y="1215028"/>
          <a:ext cx="449975" cy="44997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80000"/>
              <a:hueOff val="363782"/>
              <a:satOff val="-33222"/>
              <a:lumOff val="25593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EF02168-086A-4B64-9B77-0C8F50800EC2}">
      <dsp:nvSpPr>
        <dsp:cNvPr id="0" name=""/>
        <dsp:cNvSpPr/>
      </dsp:nvSpPr>
      <dsp:spPr>
        <a:xfrm>
          <a:off x="268750" y="1800090"/>
          <a:ext cx="1691749" cy="359980"/>
        </a:xfrm>
        <a:prstGeom prst="rect">
          <a:avLst/>
        </a:prstGeom>
        <a:gradFill rotWithShape="0">
          <a:gsLst>
            <a:gs pos="0">
              <a:schemeClr val="accent1">
                <a:shade val="80000"/>
                <a:hueOff val="545673"/>
                <a:satOff val="-49833"/>
                <a:lumOff val="3839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545673"/>
                <a:satOff val="-49833"/>
                <a:lumOff val="3839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545673"/>
                <a:satOff val="-49833"/>
                <a:lumOff val="3839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85735" tIns="50800" rIns="50800" bIns="508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smtClean="0">
              <a:latin typeface="Calibri" pitchFamily="34" charset="0"/>
              <a:cs typeface="Calibri" pitchFamily="34" charset="0"/>
            </a:rPr>
            <a:t>Evitar</a:t>
          </a:r>
          <a:endParaRPr lang="es-ES" sz="2000" b="1" kern="1200" dirty="0">
            <a:latin typeface="Calibri" pitchFamily="34" charset="0"/>
            <a:cs typeface="Calibri" pitchFamily="34" charset="0"/>
          </a:endParaRPr>
        </a:p>
      </dsp:txBody>
      <dsp:txXfrm>
        <a:off x="268750" y="1800090"/>
        <a:ext cx="1691749" cy="359980"/>
      </dsp:txXfrm>
    </dsp:sp>
    <dsp:sp modelId="{D9786D48-5F65-4EDF-B684-BBBBDABFF1BC}">
      <dsp:nvSpPr>
        <dsp:cNvPr id="0" name=""/>
        <dsp:cNvSpPr/>
      </dsp:nvSpPr>
      <dsp:spPr>
        <a:xfrm>
          <a:off x="43762" y="1755092"/>
          <a:ext cx="449975" cy="44997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80000"/>
              <a:hueOff val="545673"/>
              <a:satOff val="-49833"/>
              <a:lumOff val="3839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C54CF3-DD2F-43D8-A6CC-C724B033468E}">
      <dsp:nvSpPr>
        <dsp:cNvPr id="0" name=""/>
        <dsp:cNvSpPr/>
      </dsp:nvSpPr>
      <dsp:spPr>
        <a:xfrm>
          <a:off x="0" y="18759"/>
          <a:ext cx="2974317" cy="783168"/>
        </a:xfrm>
        <a:prstGeom prst="round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1" kern="1200" dirty="0" smtClean="0">
              <a:latin typeface="Calibri" pitchFamily="34" charset="0"/>
              <a:cs typeface="Calibri" pitchFamily="34" charset="0"/>
            </a:rPr>
            <a:t>[</a:t>
          </a:r>
          <a:r>
            <a:rPr lang="es-EC" sz="2000" b="1" kern="1200" dirty="0" err="1" smtClean="0">
              <a:latin typeface="Calibri" pitchFamily="34" charset="0"/>
              <a:cs typeface="Calibri" pitchFamily="34" charset="0"/>
            </a:rPr>
            <a:t>I.3</a:t>
          </a:r>
          <a:r>
            <a:rPr lang="es-EC" sz="2000" b="1" kern="1200" dirty="0" smtClean="0">
              <a:latin typeface="Calibri" pitchFamily="34" charset="0"/>
              <a:cs typeface="Calibri" pitchFamily="34" charset="0"/>
            </a:rPr>
            <a:t>] </a:t>
          </a:r>
          <a:r>
            <a:rPr lang="es-EC" sz="2000" kern="1200" dirty="0" smtClean="0">
              <a:latin typeface="Calibri" pitchFamily="34" charset="0"/>
              <a:cs typeface="Calibri" pitchFamily="34" charset="0"/>
            </a:rPr>
            <a:t>Contaminación mecánica.</a:t>
          </a:r>
          <a:endParaRPr lang="es-ES" sz="20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itchFamily="34" charset="0"/>
            <a:cs typeface="Calibri" pitchFamily="34" charset="0"/>
          </a:endParaRPr>
        </a:p>
      </dsp:txBody>
      <dsp:txXfrm>
        <a:off x="38231" y="56990"/>
        <a:ext cx="2897855" cy="706706"/>
      </dsp:txXfrm>
    </dsp:sp>
    <dsp:sp modelId="{A19123A7-4C67-4E9E-B002-C6147010BF7C}">
      <dsp:nvSpPr>
        <dsp:cNvPr id="0" name=""/>
        <dsp:cNvSpPr/>
      </dsp:nvSpPr>
      <dsp:spPr>
        <a:xfrm>
          <a:off x="0" y="797698"/>
          <a:ext cx="2974317" cy="783168"/>
        </a:xfrm>
        <a:prstGeom prst="round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13333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13333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13333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1" kern="1200" dirty="0" smtClean="0">
              <a:latin typeface="Calibri" pitchFamily="34" charset="0"/>
              <a:cs typeface="Calibri" pitchFamily="34" charset="0"/>
            </a:rPr>
            <a:t>[N.2] </a:t>
          </a:r>
          <a:r>
            <a:rPr lang="es-EC" sz="2000" kern="1200" dirty="0" smtClean="0">
              <a:latin typeface="Calibri" pitchFamily="34" charset="0"/>
              <a:cs typeface="Calibri" pitchFamily="34" charset="0"/>
            </a:rPr>
            <a:t>Inundaciones</a:t>
          </a:r>
          <a:endParaRPr lang="es-ES" sz="20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itchFamily="34" charset="0"/>
            <a:cs typeface="Calibri" pitchFamily="34" charset="0"/>
          </a:endParaRPr>
        </a:p>
      </dsp:txBody>
      <dsp:txXfrm>
        <a:off x="38231" y="835929"/>
        <a:ext cx="2897855" cy="706706"/>
      </dsp:txXfrm>
    </dsp:sp>
    <dsp:sp modelId="{E4B32442-E48A-4D5D-934D-0475720431AD}">
      <dsp:nvSpPr>
        <dsp:cNvPr id="0" name=""/>
        <dsp:cNvSpPr/>
      </dsp:nvSpPr>
      <dsp:spPr>
        <a:xfrm>
          <a:off x="0" y="1595042"/>
          <a:ext cx="2974317" cy="783168"/>
        </a:xfrm>
        <a:prstGeom prst="round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26667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26667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26667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1" kern="1200" dirty="0" smtClean="0">
              <a:latin typeface="Calibri" pitchFamily="34" charset="0"/>
              <a:cs typeface="Calibri" pitchFamily="34" charset="0"/>
            </a:rPr>
            <a:t>[</a:t>
          </a:r>
          <a:r>
            <a:rPr lang="es-EC" sz="2000" b="1" kern="1200" dirty="0" err="1" smtClean="0">
              <a:latin typeface="Calibri" pitchFamily="34" charset="0"/>
              <a:cs typeface="Calibri" pitchFamily="34" charset="0"/>
            </a:rPr>
            <a:t>I.5</a:t>
          </a:r>
          <a:r>
            <a:rPr lang="es-EC" sz="2000" b="1" kern="1200" dirty="0" smtClean="0">
              <a:latin typeface="Calibri" pitchFamily="34" charset="0"/>
              <a:cs typeface="Calibri" pitchFamily="34" charset="0"/>
            </a:rPr>
            <a:t>] </a:t>
          </a:r>
          <a:r>
            <a:rPr lang="es-EC" sz="2000" kern="1200" dirty="0" smtClean="0">
              <a:latin typeface="Calibri" pitchFamily="34" charset="0"/>
              <a:cs typeface="Calibri" pitchFamily="34" charset="0"/>
            </a:rPr>
            <a:t>Corte del suministro eléctrico.</a:t>
          </a:r>
          <a:endParaRPr lang="es-ES" sz="2000" b="1" kern="1200" dirty="0">
            <a:latin typeface="Calibri" pitchFamily="34" charset="0"/>
            <a:cs typeface="Calibri" pitchFamily="34" charset="0"/>
          </a:endParaRPr>
        </a:p>
      </dsp:txBody>
      <dsp:txXfrm>
        <a:off x="38231" y="1633273"/>
        <a:ext cx="2897855" cy="706706"/>
      </dsp:txXfrm>
    </dsp:sp>
    <dsp:sp modelId="{EB602181-EA3D-406D-84C8-30B704F11BEE}">
      <dsp:nvSpPr>
        <dsp:cNvPr id="0" name=""/>
        <dsp:cNvSpPr/>
      </dsp:nvSpPr>
      <dsp:spPr>
        <a:xfrm>
          <a:off x="0" y="2392386"/>
          <a:ext cx="2974317" cy="783168"/>
        </a:xfrm>
        <a:prstGeom prst="round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1" kern="1200" dirty="0" smtClean="0">
              <a:latin typeface="Calibri" pitchFamily="34" charset="0"/>
              <a:cs typeface="Calibri" pitchFamily="34" charset="0"/>
            </a:rPr>
            <a:t>[</a:t>
          </a:r>
          <a:r>
            <a:rPr lang="es-EC" sz="2000" b="1" kern="1200" dirty="0" err="1" smtClean="0">
              <a:latin typeface="Calibri" pitchFamily="34" charset="0"/>
              <a:cs typeface="Calibri" pitchFamily="34" charset="0"/>
            </a:rPr>
            <a:t>A.16</a:t>
          </a:r>
          <a:r>
            <a:rPr lang="es-EC" sz="2000" b="1" kern="1200" dirty="0" smtClean="0">
              <a:latin typeface="Calibri" pitchFamily="34" charset="0"/>
              <a:cs typeface="Calibri" pitchFamily="34" charset="0"/>
            </a:rPr>
            <a:t>] </a:t>
          </a:r>
          <a:r>
            <a:rPr lang="es-EC" sz="2000" kern="1200" dirty="0" smtClean="0">
              <a:latin typeface="Calibri" pitchFamily="34" charset="0"/>
              <a:cs typeface="Calibri" pitchFamily="34" charset="0"/>
            </a:rPr>
            <a:t>Robo</a:t>
          </a:r>
          <a:endParaRPr lang="es-ES" sz="2000" kern="1200" dirty="0"/>
        </a:p>
      </dsp:txBody>
      <dsp:txXfrm>
        <a:off x="38231" y="2430617"/>
        <a:ext cx="2897855" cy="706706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AA2D9F-D8A2-4029-961B-52C0D116BB15}">
      <dsp:nvSpPr>
        <dsp:cNvPr id="0" name=""/>
        <dsp:cNvSpPr/>
      </dsp:nvSpPr>
      <dsp:spPr>
        <a:xfrm>
          <a:off x="0" y="1074"/>
          <a:ext cx="1856155" cy="71136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Reducir</a:t>
          </a:r>
          <a:endParaRPr lang="es-ES" sz="20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itchFamily="34" charset="0"/>
            <a:cs typeface="Calibri" pitchFamily="34" charset="0"/>
          </a:endParaRPr>
        </a:p>
      </dsp:txBody>
      <dsp:txXfrm>
        <a:off x="34726" y="35800"/>
        <a:ext cx="1786703" cy="641908"/>
      </dsp:txXfrm>
    </dsp:sp>
    <dsp:sp modelId="{4B6BE432-082D-4348-A057-36D10FD42888}">
      <dsp:nvSpPr>
        <dsp:cNvPr id="0" name=""/>
        <dsp:cNvSpPr/>
      </dsp:nvSpPr>
      <dsp:spPr>
        <a:xfrm>
          <a:off x="0" y="821874"/>
          <a:ext cx="1856155" cy="71136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Aceptar</a:t>
          </a:r>
          <a:endParaRPr lang="es-ES" sz="20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itchFamily="34" charset="0"/>
            <a:cs typeface="Calibri" pitchFamily="34" charset="0"/>
          </a:endParaRPr>
        </a:p>
      </dsp:txBody>
      <dsp:txXfrm>
        <a:off x="34726" y="856600"/>
        <a:ext cx="1786703" cy="641908"/>
      </dsp:txXfrm>
    </dsp:sp>
    <dsp:sp modelId="{967C86C0-A07D-49B3-8A5E-9C2BFD13D8C5}">
      <dsp:nvSpPr>
        <dsp:cNvPr id="0" name=""/>
        <dsp:cNvSpPr/>
      </dsp:nvSpPr>
      <dsp:spPr>
        <a:xfrm>
          <a:off x="0" y="1642674"/>
          <a:ext cx="1856155" cy="71136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Reducir</a:t>
          </a:r>
          <a:endParaRPr lang="es-ES" sz="20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itchFamily="34" charset="0"/>
            <a:cs typeface="Calibri" pitchFamily="34" charset="0"/>
          </a:endParaRPr>
        </a:p>
      </dsp:txBody>
      <dsp:txXfrm>
        <a:off x="34726" y="1677400"/>
        <a:ext cx="1786703" cy="641908"/>
      </dsp:txXfrm>
    </dsp:sp>
    <dsp:sp modelId="{B3AD69E3-8F00-4938-B986-C572750F44D0}">
      <dsp:nvSpPr>
        <dsp:cNvPr id="0" name=""/>
        <dsp:cNvSpPr/>
      </dsp:nvSpPr>
      <dsp:spPr>
        <a:xfrm>
          <a:off x="0" y="2463474"/>
          <a:ext cx="1856155" cy="711360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Transferir</a:t>
          </a:r>
          <a:endParaRPr lang="es-ES" sz="2000" kern="1200" dirty="0"/>
        </a:p>
      </dsp:txBody>
      <dsp:txXfrm>
        <a:off x="34726" y="2498200"/>
        <a:ext cx="1786703" cy="641908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88B1EA-E0E9-49E5-9A13-9257093D7D02}">
      <dsp:nvSpPr>
        <dsp:cNvPr id="0" name=""/>
        <dsp:cNvSpPr/>
      </dsp:nvSpPr>
      <dsp:spPr>
        <a:xfrm>
          <a:off x="0" y="20641"/>
          <a:ext cx="2527495" cy="711360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1" kern="1200" dirty="0" smtClean="0">
              <a:latin typeface="Calibri" pitchFamily="34" charset="0"/>
              <a:cs typeface="Calibri" pitchFamily="34" charset="0"/>
            </a:rPr>
            <a:t>Procedimientos</a:t>
          </a:r>
          <a:endParaRPr lang="es-ES" kern="1200" dirty="0"/>
        </a:p>
      </dsp:txBody>
      <dsp:txXfrm>
        <a:off x="34726" y="55367"/>
        <a:ext cx="2458043" cy="641908"/>
      </dsp:txXfrm>
    </dsp:sp>
    <dsp:sp modelId="{F8B54329-198F-40CA-B544-966285EF94A5}">
      <dsp:nvSpPr>
        <dsp:cNvPr id="0" name=""/>
        <dsp:cNvSpPr/>
      </dsp:nvSpPr>
      <dsp:spPr>
        <a:xfrm>
          <a:off x="0" y="841441"/>
          <a:ext cx="2527495" cy="711360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2000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-2000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2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EC" sz="1800" b="1" kern="1200" dirty="0" smtClean="0">
              <a:latin typeface="Calibri" pitchFamily="34" charset="0"/>
              <a:cs typeface="Calibri" pitchFamily="34" charset="0"/>
            </a:rPr>
            <a:t>Política de personal</a:t>
          </a:r>
          <a:endParaRPr lang="es-ES" kern="1200" dirty="0"/>
        </a:p>
      </dsp:txBody>
      <dsp:txXfrm>
        <a:off x="34726" y="876167"/>
        <a:ext cx="2458043" cy="641908"/>
      </dsp:txXfrm>
    </dsp:sp>
    <dsp:sp modelId="{0CFB538E-BFBD-41EE-A1DF-59265163A028}">
      <dsp:nvSpPr>
        <dsp:cNvPr id="0" name=""/>
        <dsp:cNvSpPr/>
      </dsp:nvSpPr>
      <dsp:spPr>
        <a:xfrm>
          <a:off x="0" y="1662241"/>
          <a:ext cx="2527495" cy="711360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s-EC" sz="1800" b="1" kern="1200" dirty="0" smtClean="0">
              <a:latin typeface="Calibri" pitchFamily="34" charset="0"/>
              <a:cs typeface="Calibri" pitchFamily="34" charset="0"/>
            </a:rPr>
            <a:t>Soluciones técnicas</a:t>
          </a:r>
          <a:endParaRPr lang="es-ES" kern="1200" dirty="0"/>
        </a:p>
      </dsp:txBody>
      <dsp:txXfrm>
        <a:off x="34726" y="1696967"/>
        <a:ext cx="2458043" cy="64190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88E7CF-336E-4AB1-839A-8995136387CC}">
      <dsp:nvSpPr>
        <dsp:cNvPr id="0" name=""/>
        <dsp:cNvSpPr/>
      </dsp:nvSpPr>
      <dsp:spPr>
        <a:xfrm>
          <a:off x="417919" y="187872"/>
          <a:ext cx="2779542" cy="2779542"/>
        </a:xfrm>
        <a:prstGeom prst="circularArrow">
          <a:avLst>
            <a:gd name="adj1" fmla="val 4668"/>
            <a:gd name="adj2" fmla="val 272909"/>
            <a:gd name="adj3" fmla="val 13246269"/>
            <a:gd name="adj4" fmla="val 17754795"/>
            <a:gd name="adj5" fmla="val 4847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9022B72-234A-46F1-8377-C3D8C5C76476}">
      <dsp:nvSpPr>
        <dsp:cNvPr id="0" name=""/>
        <dsp:cNvSpPr/>
      </dsp:nvSpPr>
      <dsp:spPr>
        <a:xfrm>
          <a:off x="983887" y="329593"/>
          <a:ext cx="1647607" cy="595857"/>
        </a:xfrm>
        <a:prstGeom prst="roundRect">
          <a:avLst/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1" kern="1200" dirty="0" smtClean="0">
              <a:latin typeface="Calibri" pitchFamily="34" charset="0"/>
              <a:cs typeface="Calibri" pitchFamily="34" charset="0"/>
            </a:rPr>
            <a:t>Planificar</a:t>
          </a:r>
          <a:endParaRPr lang="es-ES" sz="2000" b="1" kern="1200" dirty="0">
            <a:latin typeface="Calibri" pitchFamily="34" charset="0"/>
            <a:cs typeface="Calibri" pitchFamily="34" charset="0"/>
          </a:endParaRPr>
        </a:p>
      </dsp:txBody>
      <dsp:txXfrm>
        <a:off x="1012974" y="358680"/>
        <a:ext cx="1589433" cy="537683"/>
      </dsp:txXfrm>
    </dsp:sp>
    <dsp:sp modelId="{1C38BB85-8328-44B3-9045-A390D60E921A}">
      <dsp:nvSpPr>
        <dsp:cNvPr id="0" name=""/>
        <dsp:cNvSpPr/>
      </dsp:nvSpPr>
      <dsp:spPr>
        <a:xfrm>
          <a:off x="1996345" y="1431428"/>
          <a:ext cx="1647607" cy="623289"/>
        </a:xfrm>
        <a:prstGeom prst="roundRect">
          <a:avLst/>
        </a:prstGeom>
        <a:gradFill rotWithShape="0">
          <a:gsLst>
            <a:gs pos="0">
              <a:schemeClr val="accent2">
                <a:shade val="80000"/>
                <a:hueOff val="140489"/>
                <a:satOff val="-11288"/>
                <a:lumOff val="11103"/>
                <a:alphaOff val="0"/>
                <a:shade val="51000"/>
                <a:satMod val="130000"/>
              </a:schemeClr>
            </a:gs>
            <a:gs pos="80000">
              <a:schemeClr val="accent2">
                <a:shade val="80000"/>
                <a:hueOff val="140489"/>
                <a:satOff val="-11288"/>
                <a:lumOff val="11103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140489"/>
                <a:satOff val="-11288"/>
                <a:lumOff val="1110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>
              <a:latin typeface="Calibri" pitchFamily="34" charset="0"/>
              <a:cs typeface="Calibri" pitchFamily="34" charset="0"/>
            </a:rPr>
            <a:t>Implementar</a:t>
          </a:r>
          <a:endParaRPr lang="es-ES" sz="2000" b="1" kern="1200" dirty="0">
            <a:latin typeface="Calibri" pitchFamily="34" charset="0"/>
            <a:cs typeface="Calibri" pitchFamily="34" charset="0"/>
          </a:endParaRPr>
        </a:p>
      </dsp:txBody>
      <dsp:txXfrm>
        <a:off x="2026771" y="1461854"/>
        <a:ext cx="1586755" cy="562437"/>
      </dsp:txXfrm>
    </dsp:sp>
    <dsp:sp modelId="{6704093D-26A2-4EDB-B399-958FE63F498D}">
      <dsp:nvSpPr>
        <dsp:cNvPr id="0" name=""/>
        <dsp:cNvSpPr/>
      </dsp:nvSpPr>
      <dsp:spPr>
        <a:xfrm>
          <a:off x="998172" y="2484146"/>
          <a:ext cx="1647607" cy="590922"/>
        </a:xfrm>
        <a:prstGeom prst="roundRect">
          <a:avLst/>
        </a:prstGeom>
        <a:gradFill rotWithShape="0">
          <a:gsLst>
            <a:gs pos="0">
              <a:schemeClr val="accent2">
                <a:shade val="80000"/>
                <a:hueOff val="280978"/>
                <a:satOff val="-22575"/>
                <a:lumOff val="22206"/>
                <a:alphaOff val="0"/>
                <a:shade val="51000"/>
                <a:satMod val="130000"/>
              </a:schemeClr>
            </a:gs>
            <a:gs pos="80000">
              <a:schemeClr val="accent2">
                <a:shade val="80000"/>
                <a:hueOff val="280978"/>
                <a:satOff val="-22575"/>
                <a:lumOff val="22206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280978"/>
                <a:satOff val="-22575"/>
                <a:lumOff val="2220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>
              <a:latin typeface="Calibri" pitchFamily="34" charset="0"/>
              <a:cs typeface="Calibri" pitchFamily="34" charset="0"/>
            </a:rPr>
            <a:t>Verificar</a:t>
          </a:r>
          <a:endParaRPr lang="es-ES" sz="2000" b="1" kern="1200" dirty="0">
            <a:latin typeface="Calibri" pitchFamily="34" charset="0"/>
            <a:cs typeface="Calibri" pitchFamily="34" charset="0"/>
          </a:endParaRPr>
        </a:p>
      </dsp:txBody>
      <dsp:txXfrm>
        <a:off x="1027018" y="2512992"/>
        <a:ext cx="1589915" cy="533230"/>
      </dsp:txXfrm>
    </dsp:sp>
    <dsp:sp modelId="{5EF3EBFA-5C16-4E79-A325-FA6F74F94040}">
      <dsp:nvSpPr>
        <dsp:cNvPr id="0" name=""/>
        <dsp:cNvSpPr/>
      </dsp:nvSpPr>
      <dsp:spPr>
        <a:xfrm>
          <a:off x="0" y="1431433"/>
          <a:ext cx="1647607" cy="623281"/>
        </a:xfrm>
        <a:prstGeom prst="roundRect">
          <a:avLst/>
        </a:prstGeom>
        <a:gradFill rotWithShape="0">
          <a:gsLst>
            <a:gs pos="0">
              <a:schemeClr val="accent2">
                <a:shade val="80000"/>
                <a:hueOff val="421467"/>
                <a:satOff val="-33863"/>
                <a:lumOff val="33309"/>
                <a:alphaOff val="0"/>
                <a:shade val="51000"/>
                <a:satMod val="130000"/>
              </a:schemeClr>
            </a:gs>
            <a:gs pos="80000">
              <a:schemeClr val="accent2">
                <a:shade val="80000"/>
                <a:hueOff val="421467"/>
                <a:satOff val="-33863"/>
                <a:lumOff val="33309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421467"/>
                <a:satOff val="-33863"/>
                <a:lumOff val="3330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>
              <a:latin typeface="Calibri" pitchFamily="34" charset="0"/>
              <a:cs typeface="Calibri" pitchFamily="34" charset="0"/>
            </a:rPr>
            <a:t>Mejorar</a:t>
          </a:r>
          <a:endParaRPr lang="es-ES" sz="2000" b="1" kern="1200" dirty="0">
            <a:latin typeface="Calibri" pitchFamily="34" charset="0"/>
            <a:cs typeface="Calibri" pitchFamily="34" charset="0"/>
          </a:endParaRPr>
        </a:p>
      </dsp:txBody>
      <dsp:txXfrm>
        <a:off x="30426" y="1461859"/>
        <a:ext cx="1586755" cy="56242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8246F0-50F8-4563-AA81-FB3B18A90957}">
      <dsp:nvSpPr>
        <dsp:cNvPr id="0" name=""/>
        <dsp:cNvSpPr/>
      </dsp:nvSpPr>
      <dsp:spPr>
        <a:xfrm>
          <a:off x="-1947947" y="-302086"/>
          <a:ext cx="2329097" cy="2329097"/>
        </a:xfrm>
        <a:prstGeom prst="blockArc">
          <a:avLst>
            <a:gd name="adj1" fmla="val 18900000"/>
            <a:gd name="adj2" fmla="val 2700000"/>
            <a:gd name="adj3" fmla="val 927"/>
          </a:avLst>
        </a:prstGeom>
        <a:noFill/>
        <a:ln w="25400" cap="flat" cmpd="sng" algn="ctr">
          <a:solidFill>
            <a:schemeClr val="accent2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107CCF-C260-4F8C-BE23-591318A5A4FE}">
      <dsp:nvSpPr>
        <dsp:cNvPr id="0" name=""/>
        <dsp:cNvSpPr/>
      </dsp:nvSpPr>
      <dsp:spPr>
        <a:xfrm>
          <a:off x="244980" y="172492"/>
          <a:ext cx="1996284" cy="344984"/>
        </a:xfrm>
        <a:prstGeom prst="rect">
          <a:avLst/>
        </a:prstGeom>
        <a:gradFill rotWithShape="0">
          <a:gsLst>
            <a:gs pos="0">
              <a:schemeClr val="accent2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383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b="1" kern="1200" dirty="0" smtClean="0"/>
            <a:t>Integridad</a:t>
          </a:r>
          <a:endParaRPr lang="es-ES" sz="1500" b="1" kern="1200" dirty="0"/>
        </a:p>
      </dsp:txBody>
      <dsp:txXfrm>
        <a:off x="244980" y="172492"/>
        <a:ext cx="1996284" cy="344984"/>
      </dsp:txXfrm>
    </dsp:sp>
    <dsp:sp modelId="{8FC9E06E-0894-43E6-AA16-4520CF651729}">
      <dsp:nvSpPr>
        <dsp:cNvPr id="0" name=""/>
        <dsp:cNvSpPr/>
      </dsp:nvSpPr>
      <dsp:spPr>
        <a:xfrm>
          <a:off x="29364" y="129369"/>
          <a:ext cx="431231" cy="43123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BB9A6B0-A80F-4B27-B445-820391651F58}">
      <dsp:nvSpPr>
        <dsp:cNvPr id="0" name=""/>
        <dsp:cNvSpPr/>
      </dsp:nvSpPr>
      <dsp:spPr>
        <a:xfrm>
          <a:off x="370382" y="678109"/>
          <a:ext cx="1870882" cy="344984"/>
        </a:xfrm>
        <a:prstGeom prst="rect">
          <a:avLst/>
        </a:prstGeom>
        <a:gradFill rotWithShape="0">
          <a:gsLst>
            <a:gs pos="0">
              <a:schemeClr val="accent2">
                <a:shade val="80000"/>
                <a:hueOff val="210733"/>
                <a:satOff val="-16931"/>
                <a:lumOff val="16655"/>
                <a:alphaOff val="0"/>
                <a:shade val="51000"/>
                <a:satMod val="130000"/>
              </a:schemeClr>
            </a:gs>
            <a:gs pos="80000">
              <a:schemeClr val="accent2">
                <a:shade val="80000"/>
                <a:hueOff val="210733"/>
                <a:satOff val="-16931"/>
                <a:lumOff val="16655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210733"/>
                <a:satOff val="-16931"/>
                <a:lumOff val="1665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383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b="1" kern="1200" smtClean="0"/>
            <a:t>Disponibilidad</a:t>
          </a:r>
          <a:endParaRPr lang="es-ES" sz="1500" b="1" kern="1200" dirty="0"/>
        </a:p>
      </dsp:txBody>
      <dsp:txXfrm>
        <a:off x="370382" y="678109"/>
        <a:ext cx="1870882" cy="344984"/>
      </dsp:txXfrm>
    </dsp:sp>
    <dsp:sp modelId="{D54A91AC-CE11-4BC9-AE39-2B60EFB7D2E0}">
      <dsp:nvSpPr>
        <dsp:cNvPr id="0" name=""/>
        <dsp:cNvSpPr/>
      </dsp:nvSpPr>
      <dsp:spPr>
        <a:xfrm>
          <a:off x="154766" y="646846"/>
          <a:ext cx="431231" cy="43123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shade val="80000"/>
              <a:hueOff val="210733"/>
              <a:satOff val="-16931"/>
              <a:lumOff val="16655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A53430E6-5ACB-4086-8934-E7F01097D7FB}">
      <dsp:nvSpPr>
        <dsp:cNvPr id="0" name=""/>
        <dsp:cNvSpPr/>
      </dsp:nvSpPr>
      <dsp:spPr>
        <a:xfrm>
          <a:off x="244980" y="1207446"/>
          <a:ext cx="1996284" cy="344984"/>
        </a:xfrm>
        <a:prstGeom prst="rect">
          <a:avLst/>
        </a:prstGeom>
        <a:gradFill rotWithShape="0">
          <a:gsLst>
            <a:gs pos="0">
              <a:schemeClr val="accent2">
                <a:shade val="80000"/>
                <a:hueOff val="421467"/>
                <a:satOff val="-33863"/>
                <a:lumOff val="33309"/>
                <a:alphaOff val="0"/>
                <a:shade val="51000"/>
                <a:satMod val="130000"/>
              </a:schemeClr>
            </a:gs>
            <a:gs pos="80000">
              <a:schemeClr val="accent2">
                <a:shade val="80000"/>
                <a:hueOff val="421467"/>
                <a:satOff val="-33863"/>
                <a:lumOff val="33309"/>
                <a:alphaOff val="0"/>
                <a:shade val="93000"/>
                <a:satMod val="130000"/>
              </a:schemeClr>
            </a:gs>
            <a:gs pos="100000">
              <a:schemeClr val="accent2">
                <a:shade val="80000"/>
                <a:hueOff val="421467"/>
                <a:satOff val="-33863"/>
                <a:lumOff val="3330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73832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b="1" kern="1200" dirty="0" smtClean="0"/>
            <a:t>Confidencialidad</a:t>
          </a:r>
          <a:endParaRPr lang="es-ES" sz="1500" b="1" kern="1200" dirty="0"/>
        </a:p>
      </dsp:txBody>
      <dsp:txXfrm>
        <a:off x="244980" y="1207446"/>
        <a:ext cx="1996284" cy="344984"/>
      </dsp:txXfrm>
    </dsp:sp>
    <dsp:sp modelId="{0D70DDED-356A-4BAA-A837-83C2B435772D}">
      <dsp:nvSpPr>
        <dsp:cNvPr id="0" name=""/>
        <dsp:cNvSpPr/>
      </dsp:nvSpPr>
      <dsp:spPr>
        <a:xfrm>
          <a:off x="29364" y="1164323"/>
          <a:ext cx="431231" cy="431231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shade val="80000"/>
              <a:hueOff val="421467"/>
              <a:satOff val="-33863"/>
              <a:lumOff val="33309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B7F542-D7EC-43C8-9C12-1F977E2548EB}">
      <dsp:nvSpPr>
        <dsp:cNvPr id="0" name=""/>
        <dsp:cNvSpPr/>
      </dsp:nvSpPr>
      <dsp:spPr>
        <a:xfrm>
          <a:off x="6603" y="139025"/>
          <a:ext cx="932248" cy="572792"/>
        </a:xfrm>
        <a:prstGeom prst="ellipse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300" b="1" u="none" kern="1200" dirty="0" smtClean="0">
              <a:latin typeface="Calibri" pitchFamily="34" charset="0"/>
              <a:cs typeface="Calibri" pitchFamily="34" charset="0"/>
            </a:rPr>
            <a:t>D + I + C </a:t>
          </a:r>
          <a:endParaRPr lang="es-ES" sz="1300" u="none" kern="1200" dirty="0"/>
        </a:p>
      </dsp:txBody>
      <dsp:txXfrm>
        <a:off x="143128" y="222908"/>
        <a:ext cx="659198" cy="405026"/>
      </dsp:txXfrm>
    </dsp:sp>
    <dsp:sp modelId="{48F58790-EC7A-42D9-9661-6283CED3B395}">
      <dsp:nvSpPr>
        <dsp:cNvPr id="0" name=""/>
        <dsp:cNvSpPr/>
      </dsp:nvSpPr>
      <dsp:spPr>
        <a:xfrm flipV="1">
          <a:off x="429" y="758328"/>
          <a:ext cx="944596" cy="45720"/>
        </a:xfrm>
        <a:prstGeom prst="rect">
          <a:avLst/>
        </a:prstGeom>
        <a:gradFill rotWithShape="0">
          <a:gsLst>
            <a:gs pos="0">
              <a:schemeClr val="accent1">
                <a:shade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500" kern="1200"/>
        </a:p>
      </dsp:txBody>
      <dsp:txXfrm rot="10800000">
        <a:off x="429" y="758328"/>
        <a:ext cx="944596" cy="45720"/>
      </dsp:txXfrm>
    </dsp:sp>
    <dsp:sp modelId="{8DC018C4-0C8B-468E-9A08-570F5B9B0CA6}">
      <dsp:nvSpPr>
        <dsp:cNvPr id="0" name=""/>
        <dsp:cNvSpPr/>
      </dsp:nvSpPr>
      <dsp:spPr>
        <a:xfrm>
          <a:off x="253356" y="850559"/>
          <a:ext cx="438741" cy="288956"/>
        </a:xfrm>
        <a:prstGeom prst="ellipse">
          <a:avLst/>
        </a:prstGeom>
        <a:gradFill rotWithShape="0">
          <a:gsLst>
            <a:gs pos="0">
              <a:schemeClr val="accent1">
                <a:shade val="80000"/>
                <a:hueOff val="272836"/>
                <a:satOff val="-24916"/>
                <a:lumOff val="1919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272836"/>
                <a:satOff val="-24916"/>
                <a:lumOff val="1919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272836"/>
                <a:satOff val="-24916"/>
                <a:lumOff val="1919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300" kern="1200" dirty="0" smtClean="0"/>
            <a:t>3</a:t>
          </a:r>
          <a:endParaRPr lang="es-ES" sz="1300" kern="1200" dirty="0"/>
        </a:p>
      </dsp:txBody>
      <dsp:txXfrm>
        <a:off x="317608" y="892876"/>
        <a:ext cx="310237" cy="204322"/>
      </dsp:txXfrm>
    </dsp:sp>
    <dsp:sp modelId="{80811653-E66D-4851-9EE3-DF71E24B35A2}">
      <dsp:nvSpPr>
        <dsp:cNvPr id="0" name=""/>
        <dsp:cNvSpPr/>
      </dsp:nvSpPr>
      <dsp:spPr>
        <a:xfrm rot="21425562">
          <a:off x="1031256" y="665176"/>
          <a:ext cx="184219" cy="213078"/>
        </a:xfrm>
        <a:prstGeom prst="mathEqual">
          <a:avLst/>
        </a:prstGeom>
        <a:gradFill rotWithShape="0">
          <a:gsLst>
            <a:gs pos="0">
              <a:schemeClr val="accent1">
                <a:shade val="90000"/>
                <a:hueOff val="545574"/>
                <a:satOff val="-49192"/>
                <a:lumOff val="36844"/>
                <a:alphaOff val="0"/>
                <a:shade val="51000"/>
                <a:satMod val="130000"/>
              </a:schemeClr>
            </a:gs>
            <a:gs pos="80000">
              <a:schemeClr val="accent1">
                <a:shade val="90000"/>
                <a:hueOff val="545574"/>
                <a:satOff val="-49192"/>
                <a:lumOff val="36844"/>
                <a:alphaOff val="0"/>
                <a:shade val="93000"/>
                <a:satMod val="130000"/>
              </a:schemeClr>
            </a:gs>
            <a:gs pos="100000">
              <a:schemeClr val="accent1">
                <a:shade val="90000"/>
                <a:hueOff val="545574"/>
                <a:satOff val="-49192"/>
                <a:lumOff val="3684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900" kern="1200"/>
        </a:p>
      </dsp:txBody>
      <dsp:txXfrm>
        <a:off x="1031292" y="709194"/>
        <a:ext cx="128953" cy="127846"/>
      </dsp:txXfrm>
    </dsp:sp>
    <dsp:sp modelId="{61B153DF-D8FA-4227-A957-1C31D2FB8672}">
      <dsp:nvSpPr>
        <dsp:cNvPr id="0" name=""/>
        <dsp:cNvSpPr/>
      </dsp:nvSpPr>
      <dsp:spPr>
        <a:xfrm>
          <a:off x="1288701" y="324418"/>
          <a:ext cx="1013281" cy="858386"/>
        </a:xfrm>
        <a:prstGeom prst="ellipse">
          <a:avLst/>
        </a:prstGeom>
        <a:gradFill rotWithShape="0">
          <a:gsLst>
            <a:gs pos="0">
              <a:schemeClr val="accent1">
                <a:shade val="80000"/>
                <a:hueOff val="545673"/>
                <a:satOff val="-49833"/>
                <a:lumOff val="3839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545673"/>
                <a:satOff val="-49833"/>
                <a:lumOff val="3839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545673"/>
                <a:satOff val="-49833"/>
                <a:lumOff val="3839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VALOR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b="1" kern="1200" dirty="0" smtClean="0">
              <a:solidFill>
                <a:schemeClr val="bg1"/>
              </a:solidFill>
              <a:latin typeface="Calibri" pitchFamily="34" charset="0"/>
              <a:cs typeface="Calibri" pitchFamily="34" charset="0"/>
            </a:rPr>
            <a:t>ACTIVO</a:t>
          </a:r>
          <a:endParaRPr lang="es-ES" sz="1600" kern="1200" dirty="0"/>
        </a:p>
      </dsp:txBody>
      <dsp:txXfrm>
        <a:off x="1437093" y="450126"/>
        <a:ext cx="716497" cy="60697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D95F0F-B9A8-458D-A090-FBD444019853}">
      <dsp:nvSpPr>
        <dsp:cNvPr id="0" name=""/>
        <dsp:cNvSpPr/>
      </dsp:nvSpPr>
      <dsp:spPr>
        <a:xfrm>
          <a:off x="0" y="78060"/>
          <a:ext cx="8308371" cy="417980"/>
        </a:xfrm>
        <a:prstGeom prst="rect">
          <a:avLst/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Información / Datos</a:t>
          </a:r>
          <a:endParaRPr lang="es-ES" sz="2400" kern="1200" dirty="0">
            <a:latin typeface="Calibri" pitchFamily="34" charset="0"/>
            <a:cs typeface="Calibri" pitchFamily="34" charset="0"/>
          </a:endParaRPr>
        </a:p>
      </dsp:txBody>
      <dsp:txXfrm>
        <a:off x="0" y="78060"/>
        <a:ext cx="8308371" cy="417980"/>
      </dsp:txXfrm>
    </dsp:sp>
    <dsp:sp modelId="{6586C1EF-41DD-4910-9667-F16D965AB71E}">
      <dsp:nvSpPr>
        <dsp:cNvPr id="0" name=""/>
        <dsp:cNvSpPr/>
      </dsp:nvSpPr>
      <dsp:spPr>
        <a:xfrm>
          <a:off x="11291" y="503370"/>
          <a:ext cx="3802889" cy="1533469"/>
        </a:xfrm>
        <a:prstGeom prst="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1" kern="1200" dirty="0" smtClean="0">
              <a:latin typeface="Calibri" pitchFamily="34" charset="0"/>
              <a:cs typeface="Calibri" pitchFamily="34" charset="0"/>
            </a:rPr>
            <a:t>[E.5] </a:t>
          </a:r>
          <a:r>
            <a:rPr lang="es-EC" sz="2000" kern="1200" dirty="0" smtClean="0">
              <a:latin typeface="Calibri" pitchFamily="34" charset="0"/>
              <a:cs typeface="Calibri" pitchFamily="34" charset="0"/>
            </a:rPr>
            <a:t>Difusión de software dañino.</a:t>
          </a:r>
        </a:p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1" kern="1200" dirty="0" smtClean="0">
              <a:latin typeface="Calibri" pitchFamily="34" charset="0"/>
              <a:cs typeface="Calibri" pitchFamily="34" charset="0"/>
            </a:rPr>
            <a:t>[I.6] </a:t>
          </a:r>
          <a:r>
            <a:rPr lang="es-EC" sz="2000" kern="1200" dirty="0" smtClean="0">
              <a:latin typeface="Calibri" pitchFamily="34" charset="0"/>
              <a:cs typeface="Calibri" pitchFamily="34" charset="0"/>
            </a:rPr>
            <a:t>Introducción de información incorrecta.</a:t>
          </a:r>
          <a:endParaRPr lang="es-ES" sz="2000" kern="1200" dirty="0">
            <a:latin typeface="Calibri" pitchFamily="34" charset="0"/>
            <a:cs typeface="Calibri" pitchFamily="34" charset="0"/>
          </a:endParaRPr>
        </a:p>
      </dsp:txBody>
      <dsp:txXfrm>
        <a:off x="11291" y="503370"/>
        <a:ext cx="3802889" cy="1533469"/>
      </dsp:txXfrm>
    </dsp:sp>
    <dsp:sp modelId="{2239B5A3-A9A0-4AC3-9567-AB0E77A3C240}">
      <dsp:nvSpPr>
        <dsp:cNvPr id="0" name=""/>
        <dsp:cNvSpPr/>
      </dsp:nvSpPr>
      <dsp:spPr>
        <a:xfrm>
          <a:off x="3804094" y="503370"/>
          <a:ext cx="4503072" cy="1533469"/>
        </a:xfrm>
        <a:prstGeom prst="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C" sz="2000" kern="1200" dirty="0" smtClean="0">
            <a:latin typeface="Calibri" pitchFamily="34" charset="0"/>
            <a:cs typeface="Calibri" pitchFamily="34" charset="0"/>
          </a:endParaRP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0" kern="1200" dirty="0" smtClean="0">
              <a:latin typeface="Calibri" pitchFamily="34" charset="0"/>
              <a:cs typeface="Calibri" pitchFamily="34" charset="0"/>
            </a:rPr>
            <a:t>Falta de Protección Anti-Virus actualizada.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0" kern="1200" dirty="0" smtClean="0">
              <a:latin typeface="Calibri" pitchFamily="34" charset="0"/>
              <a:cs typeface="Calibri" pitchFamily="34" charset="0"/>
            </a:rPr>
            <a:t>Falta de conocimiento para el uso de la aplicación.</a:t>
          </a:r>
        </a:p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000" kern="1200" dirty="0" smtClean="0">
            <a:latin typeface="Calibri" pitchFamily="34" charset="0"/>
            <a:cs typeface="Calibri" pitchFamily="34" charset="0"/>
          </a:endParaRPr>
        </a:p>
      </dsp:txBody>
      <dsp:txXfrm>
        <a:off x="3804094" y="503370"/>
        <a:ext cx="4503072" cy="1533469"/>
      </dsp:txXfrm>
    </dsp:sp>
    <dsp:sp modelId="{93C674C3-6F23-42FC-8605-E2511F96B612}">
      <dsp:nvSpPr>
        <dsp:cNvPr id="0" name=""/>
        <dsp:cNvSpPr/>
      </dsp:nvSpPr>
      <dsp:spPr>
        <a:xfrm>
          <a:off x="0" y="2047463"/>
          <a:ext cx="8308371" cy="170385"/>
        </a:xfrm>
        <a:prstGeom prst="rect">
          <a:avLst/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D95F0F-B9A8-458D-A090-FBD444019853}">
      <dsp:nvSpPr>
        <dsp:cNvPr id="0" name=""/>
        <dsp:cNvSpPr/>
      </dsp:nvSpPr>
      <dsp:spPr>
        <a:xfrm>
          <a:off x="0" y="72482"/>
          <a:ext cx="8308370" cy="388112"/>
        </a:xfrm>
        <a:prstGeom prst="rect">
          <a:avLst/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b="1" kern="1200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Pc</a:t>
          </a:r>
          <a:r>
            <a:rPr lang="es-ES" sz="2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 / Laptop</a:t>
          </a:r>
          <a:endParaRPr lang="es-ES" sz="2400" kern="1200" dirty="0">
            <a:latin typeface="Calibri" pitchFamily="34" charset="0"/>
            <a:cs typeface="Calibri" pitchFamily="34" charset="0"/>
          </a:endParaRPr>
        </a:p>
      </dsp:txBody>
      <dsp:txXfrm>
        <a:off x="0" y="72482"/>
        <a:ext cx="8308370" cy="388112"/>
      </dsp:txXfrm>
    </dsp:sp>
    <dsp:sp modelId="{6586C1EF-41DD-4910-9667-F16D965AB71E}">
      <dsp:nvSpPr>
        <dsp:cNvPr id="0" name=""/>
        <dsp:cNvSpPr/>
      </dsp:nvSpPr>
      <dsp:spPr>
        <a:xfrm>
          <a:off x="10796" y="467401"/>
          <a:ext cx="3803880" cy="1423893"/>
        </a:xfrm>
        <a:prstGeom prst="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1" kern="1200" dirty="0" smtClean="0">
              <a:latin typeface="Calibri" pitchFamily="34" charset="0"/>
              <a:cs typeface="Calibri" pitchFamily="34" charset="0"/>
            </a:rPr>
            <a:t>[I.3] </a:t>
          </a:r>
          <a:r>
            <a:rPr lang="es-EC" sz="2000" kern="1200" dirty="0" smtClean="0">
              <a:latin typeface="Calibri" pitchFamily="34" charset="0"/>
              <a:cs typeface="Calibri" pitchFamily="34" charset="0"/>
            </a:rPr>
            <a:t>Contaminación mecánica.</a:t>
          </a:r>
          <a:endParaRPr lang="es-ES" sz="2000" kern="1200" dirty="0" smtClean="0">
            <a:latin typeface="Calibri" pitchFamily="34" charset="0"/>
            <a:cs typeface="Calibri" pitchFamily="34" charset="0"/>
          </a:endParaRP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1" kern="1200" dirty="0" smtClean="0">
              <a:latin typeface="Calibri" pitchFamily="34" charset="0"/>
              <a:cs typeface="Calibri" pitchFamily="34" charset="0"/>
            </a:rPr>
            <a:t>[I.6] </a:t>
          </a:r>
          <a:r>
            <a:rPr lang="es-EC" sz="2000" kern="1200" dirty="0" smtClean="0">
              <a:latin typeface="Calibri" pitchFamily="34" charset="0"/>
              <a:cs typeface="Calibri" pitchFamily="34" charset="0"/>
            </a:rPr>
            <a:t>Condiciones inadecuadas de temperatura y/o humedad</a:t>
          </a:r>
          <a:endParaRPr lang="es-ES" sz="2000" kern="1200" dirty="0">
            <a:latin typeface="Calibri" pitchFamily="34" charset="0"/>
            <a:cs typeface="Calibri" pitchFamily="34" charset="0"/>
          </a:endParaRPr>
        </a:p>
      </dsp:txBody>
      <dsp:txXfrm>
        <a:off x="10796" y="467401"/>
        <a:ext cx="3803880" cy="1423893"/>
      </dsp:txXfrm>
    </dsp:sp>
    <dsp:sp modelId="{2239B5A3-A9A0-4AC3-9567-AB0E77A3C240}">
      <dsp:nvSpPr>
        <dsp:cNvPr id="0" name=""/>
        <dsp:cNvSpPr/>
      </dsp:nvSpPr>
      <dsp:spPr>
        <a:xfrm>
          <a:off x="3804589" y="467401"/>
          <a:ext cx="4503072" cy="1423893"/>
        </a:xfrm>
        <a:prstGeom prst="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0" kern="1200" dirty="0" smtClean="0">
              <a:latin typeface="Calibri" pitchFamily="34" charset="0"/>
              <a:cs typeface="Calibri" pitchFamily="34" charset="0"/>
            </a:rPr>
            <a:t>Falta de mantenimiento.</a:t>
          </a:r>
          <a:endParaRPr lang="es-ES" sz="2000" b="0" kern="1200" dirty="0" smtClean="0">
            <a:latin typeface="Calibri" pitchFamily="34" charset="0"/>
            <a:cs typeface="Calibri" pitchFamily="34" charset="0"/>
          </a:endParaRP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000" b="0" kern="1200" dirty="0" smtClean="0">
              <a:latin typeface="Calibri" pitchFamily="34" charset="0"/>
              <a:cs typeface="Calibri" pitchFamily="34" charset="0"/>
            </a:rPr>
            <a:t>Funcionamiento no adecuado del aire acondicionado</a:t>
          </a:r>
          <a:endParaRPr lang="es-ES" sz="2000" b="0" kern="1200" dirty="0">
            <a:latin typeface="Calibri" pitchFamily="34" charset="0"/>
            <a:cs typeface="Calibri" pitchFamily="34" charset="0"/>
          </a:endParaRPr>
        </a:p>
      </dsp:txBody>
      <dsp:txXfrm>
        <a:off x="3804589" y="467401"/>
        <a:ext cx="4503072" cy="1423893"/>
      </dsp:txXfrm>
    </dsp:sp>
    <dsp:sp modelId="{93C674C3-6F23-42FC-8605-E2511F96B612}">
      <dsp:nvSpPr>
        <dsp:cNvPr id="0" name=""/>
        <dsp:cNvSpPr/>
      </dsp:nvSpPr>
      <dsp:spPr>
        <a:xfrm>
          <a:off x="0" y="1901159"/>
          <a:ext cx="8308370" cy="158210"/>
        </a:xfrm>
        <a:prstGeom prst="rect">
          <a:avLst/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D95F0F-B9A8-458D-A090-FBD444019853}">
      <dsp:nvSpPr>
        <dsp:cNvPr id="0" name=""/>
        <dsp:cNvSpPr/>
      </dsp:nvSpPr>
      <dsp:spPr>
        <a:xfrm>
          <a:off x="0" y="77460"/>
          <a:ext cx="7905749" cy="414763"/>
        </a:xfrm>
        <a:prstGeom prst="rect">
          <a:avLst/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Servidor</a:t>
          </a:r>
          <a:endParaRPr lang="es-ES" sz="24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itchFamily="34" charset="0"/>
            <a:cs typeface="Calibri" pitchFamily="34" charset="0"/>
          </a:endParaRPr>
        </a:p>
      </dsp:txBody>
      <dsp:txXfrm>
        <a:off x="0" y="77460"/>
        <a:ext cx="7905749" cy="414763"/>
      </dsp:txXfrm>
    </dsp:sp>
    <dsp:sp modelId="{6586C1EF-41DD-4910-9667-F16D965AB71E}">
      <dsp:nvSpPr>
        <dsp:cNvPr id="0" name=""/>
        <dsp:cNvSpPr/>
      </dsp:nvSpPr>
      <dsp:spPr>
        <a:xfrm>
          <a:off x="8854" y="499496"/>
          <a:ext cx="3952875" cy="1521667"/>
        </a:xfrm>
        <a:prstGeom prst="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1" kern="1200" dirty="0" smtClean="0">
              <a:latin typeface="Calibri" pitchFamily="34" charset="0"/>
              <a:cs typeface="Calibri" pitchFamily="34" charset="0"/>
            </a:rPr>
            <a:t>[I.4] 	</a:t>
          </a:r>
          <a:r>
            <a:rPr lang="es-EC" sz="1800" kern="1200" dirty="0" smtClean="0">
              <a:latin typeface="Calibri" pitchFamily="34" charset="0"/>
              <a:cs typeface="Calibri" pitchFamily="34" charset="0"/>
            </a:rPr>
            <a:t>Avería de origen físico.</a:t>
          </a:r>
          <a:endParaRPr lang="es-ES" sz="1800" kern="1200" dirty="0" smtClean="0">
            <a:latin typeface="Calibri" pitchFamily="34" charset="0"/>
            <a:cs typeface="Calibri" pitchFamily="34" charset="0"/>
          </a:endParaRPr>
        </a:p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1" kern="1200" dirty="0" smtClean="0">
              <a:latin typeface="Calibri" pitchFamily="34" charset="0"/>
              <a:cs typeface="Calibri" pitchFamily="34" charset="0"/>
            </a:rPr>
            <a:t>[I.5] 	</a:t>
          </a:r>
          <a:r>
            <a:rPr lang="es-EC" sz="1800" kern="1200" dirty="0" smtClean="0">
              <a:latin typeface="Calibri" pitchFamily="34" charset="0"/>
              <a:cs typeface="Calibri" pitchFamily="34" charset="0"/>
            </a:rPr>
            <a:t>Corte del suministro eléctrico.</a:t>
          </a:r>
          <a:endParaRPr lang="es-ES" sz="1800" kern="1200" dirty="0" smtClean="0">
            <a:latin typeface="Calibri" pitchFamily="34" charset="0"/>
            <a:cs typeface="Calibri" pitchFamily="34" charset="0"/>
          </a:endParaRPr>
        </a:p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1" kern="1200" dirty="0" smtClean="0">
              <a:latin typeface="Calibri" pitchFamily="34" charset="0"/>
              <a:cs typeface="Calibri" pitchFamily="34" charset="0"/>
            </a:rPr>
            <a:t>[I.6] 	</a:t>
          </a:r>
          <a:r>
            <a:rPr lang="es-EC" sz="1800" kern="1200" dirty="0" smtClean="0">
              <a:latin typeface="Calibri" pitchFamily="34" charset="0"/>
              <a:cs typeface="Calibri" pitchFamily="34" charset="0"/>
            </a:rPr>
            <a:t>Condiciones inadecuadas de temperatura y/o humedad.</a:t>
          </a:r>
          <a:endParaRPr lang="es-ES" sz="1800" kern="1200" dirty="0">
            <a:latin typeface="Calibri" pitchFamily="34" charset="0"/>
            <a:cs typeface="Calibri" pitchFamily="34" charset="0"/>
          </a:endParaRPr>
        </a:p>
      </dsp:txBody>
      <dsp:txXfrm>
        <a:off x="8854" y="499496"/>
        <a:ext cx="3952875" cy="1521667"/>
      </dsp:txXfrm>
    </dsp:sp>
    <dsp:sp modelId="{2239B5A3-A9A0-4AC3-9567-AB0E77A3C240}">
      <dsp:nvSpPr>
        <dsp:cNvPr id="0" name=""/>
        <dsp:cNvSpPr/>
      </dsp:nvSpPr>
      <dsp:spPr>
        <a:xfrm>
          <a:off x="3952874" y="499496"/>
          <a:ext cx="3952875" cy="1521667"/>
        </a:xfrm>
        <a:prstGeom prst="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0" kern="1200" dirty="0" smtClean="0">
              <a:latin typeface="Calibri" pitchFamily="34" charset="0"/>
              <a:cs typeface="Calibri" pitchFamily="34" charset="0"/>
            </a:rPr>
            <a:t>Falta de mantenimiento.</a:t>
          </a:r>
          <a:endParaRPr lang="es-ES" sz="1800" b="0" kern="1200" dirty="0" smtClean="0">
            <a:latin typeface="Calibri" pitchFamily="34" charset="0"/>
            <a:cs typeface="Calibri" pitchFamily="34" charset="0"/>
          </a:endParaRPr>
        </a:p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0" kern="1200" dirty="0" smtClean="0">
              <a:latin typeface="Calibri" pitchFamily="34" charset="0"/>
              <a:cs typeface="Calibri" pitchFamily="34" charset="0"/>
            </a:rPr>
            <a:t>Funcionamiento no confiable del UPS.</a:t>
          </a:r>
        </a:p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0" kern="1200" dirty="0" smtClean="0">
              <a:latin typeface="Calibri" pitchFamily="34" charset="0"/>
              <a:cs typeface="Calibri" pitchFamily="34" charset="0"/>
            </a:rPr>
            <a:t>Funcionamiento no adecuado del aire acondicionado..</a:t>
          </a:r>
          <a:endParaRPr lang="es-ES" sz="1800" b="0" kern="1200" dirty="0">
            <a:latin typeface="Calibri" pitchFamily="34" charset="0"/>
            <a:cs typeface="Calibri" pitchFamily="34" charset="0"/>
          </a:endParaRPr>
        </a:p>
      </dsp:txBody>
      <dsp:txXfrm>
        <a:off x="3952874" y="499496"/>
        <a:ext cx="3952875" cy="1521667"/>
      </dsp:txXfrm>
    </dsp:sp>
    <dsp:sp modelId="{93C674C3-6F23-42FC-8605-E2511F96B612}">
      <dsp:nvSpPr>
        <dsp:cNvPr id="0" name=""/>
        <dsp:cNvSpPr/>
      </dsp:nvSpPr>
      <dsp:spPr>
        <a:xfrm>
          <a:off x="0" y="2031705"/>
          <a:ext cx="7905749" cy="169074"/>
        </a:xfrm>
        <a:prstGeom prst="rect">
          <a:avLst/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D95F0F-B9A8-458D-A090-FBD444019853}">
      <dsp:nvSpPr>
        <dsp:cNvPr id="0" name=""/>
        <dsp:cNvSpPr/>
      </dsp:nvSpPr>
      <dsp:spPr>
        <a:xfrm>
          <a:off x="0" y="93275"/>
          <a:ext cx="7905749" cy="499447"/>
        </a:xfrm>
        <a:prstGeom prst="rect">
          <a:avLst/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2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Aplicaciones (Software)</a:t>
          </a:r>
          <a:endParaRPr lang="es-ES" sz="2400" b="1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itchFamily="34" charset="0"/>
            <a:cs typeface="Calibri" pitchFamily="34" charset="0"/>
          </a:endParaRPr>
        </a:p>
      </dsp:txBody>
      <dsp:txXfrm>
        <a:off x="0" y="93275"/>
        <a:ext cx="7905749" cy="499447"/>
      </dsp:txXfrm>
    </dsp:sp>
    <dsp:sp modelId="{6586C1EF-41DD-4910-9667-F16D965AB71E}">
      <dsp:nvSpPr>
        <dsp:cNvPr id="0" name=""/>
        <dsp:cNvSpPr/>
      </dsp:nvSpPr>
      <dsp:spPr>
        <a:xfrm>
          <a:off x="8854" y="601480"/>
          <a:ext cx="3952875" cy="1832355"/>
        </a:xfrm>
        <a:prstGeom prst="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1" kern="1200" dirty="0" smtClean="0">
              <a:latin typeface="Calibri" pitchFamily="34" charset="0"/>
              <a:cs typeface="Calibri" pitchFamily="34" charset="0"/>
            </a:rPr>
            <a:t>[E.9]	</a:t>
          </a:r>
          <a:r>
            <a:rPr lang="es-EC" sz="1800" kern="1200" dirty="0" smtClean="0">
              <a:latin typeface="Calibri" pitchFamily="34" charset="0"/>
              <a:cs typeface="Calibri" pitchFamily="34" charset="0"/>
            </a:rPr>
            <a:t>Introducción de información incorrecta.</a:t>
          </a:r>
          <a:endParaRPr lang="es-ES" sz="1800" kern="1200" dirty="0" smtClean="0">
            <a:latin typeface="Calibri" pitchFamily="34" charset="0"/>
            <a:cs typeface="Calibri" pitchFamily="34" charset="0"/>
          </a:endParaRPr>
        </a:p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1" kern="1200" dirty="0" smtClean="0">
              <a:latin typeface="Calibri" pitchFamily="34" charset="0"/>
              <a:cs typeface="Calibri" pitchFamily="34" charset="0"/>
            </a:rPr>
            <a:t>[E.16]	</a:t>
          </a:r>
          <a:r>
            <a:rPr lang="es-EC" sz="1800" kern="1200" dirty="0" smtClean="0">
              <a:latin typeface="Calibri" pitchFamily="34" charset="0"/>
              <a:cs typeface="Calibri" pitchFamily="34" charset="0"/>
            </a:rPr>
            <a:t>Caída del sistema por agotamiento de recursos.</a:t>
          </a:r>
          <a:endParaRPr lang="es-ES" sz="1800" kern="1200" dirty="0">
            <a:latin typeface="Calibri" pitchFamily="34" charset="0"/>
            <a:cs typeface="Calibri" pitchFamily="34" charset="0"/>
          </a:endParaRPr>
        </a:p>
      </dsp:txBody>
      <dsp:txXfrm>
        <a:off x="8854" y="601480"/>
        <a:ext cx="3952875" cy="1832355"/>
      </dsp:txXfrm>
    </dsp:sp>
    <dsp:sp modelId="{2239B5A3-A9A0-4AC3-9567-AB0E77A3C240}">
      <dsp:nvSpPr>
        <dsp:cNvPr id="0" name=""/>
        <dsp:cNvSpPr/>
      </dsp:nvSpPr>
      <dsp:spPr>
        <a:xfrm>
          <a:off x="3952874" y="601480"/>
          <a:ext cx="3952875" cy="1832355"/>
        </a:xfrm>
        <a:prstGeom prst="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1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0" kern="1200" dirty="0" smtClean="0">
              <a:latin typeface="Calibri" pitchFamily="34" charset="0"/>
              <a:cs typeface="Calibri" pitchFamily="34" charset="0"/>
            </a:rPr>
            <a:t>Falta de conocimiento para el uso de la aplicación.</a:t>
          </a:r>
          <a:endParaRPr lang="es-ES" sz="1800" b="0" kern="1200" dirty="0" smtClean="0">
            <a:latin typeface="Calibri" pitchFamily="34" charset="0"/>
            <a:cs typeface="Calibri" pitchFamily="34" charset="0"/>
          </a:endParaRPr>
        </a:p>
        <a:p>
          <a:pPr lvl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0" kern="1200" dirty="0" smtClean="0">
              <a:latin typeface="Calibri" pitchFamily="34" charset="0"/>
              <a:cs typeface="Calibri" pitchFamily="34" charset="0"/>
            </a:rPr>
            <a:t>Sobrecarga en la utilización de la aplicación.</a:t>
          </a:r>
          <a:endParaRPr lang="es-ES" sz="1800" b="0" kern="1200" dirty="0">
            <a:latin typeface="Calibri" pitchFamily="34" charset="0"/>
            <a:cs typeface="Calibri" pitchFamily="34" charset="0"/>
          </a:endParaRPr>
        </a:p>
      </dsp:txBody>
      <dsp:txXfrm>
        <a:off x="3952874" y="601480"/>
        <a:ext cx="3952875" cy="1832355"/>
      </dsp:txXfrm>
    </dsp:sp>
    <dsp:sp modelId="{93C674C3-6F23-42FC-8605-E2511F96B612}">
      <dsp:nvSpPr>
        <dsp:cNvPr id="0" name=""/>
        <dsp:cNvSpPr/>
      </dsp:nvSpPr>
      <dsp:spPr>
        <a:xfrm>
          <a:off x="0" y="2446530"/>
          <a:ext cx="7905749" cy="203595"/>
        </a:xfrm>
        <a:prstGeom prst="rect">
          <a:avLst/>
        </a:prstGeom>
        <a:solidFill>
          <a:schemeClr val="accent1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F18FA6-7384-4B92-89ED-E17FECE30B66}">
      <dsp:nvSpPr>
        <dsp:cNvPr id="0" name=""/>
        <dsp:cNvSpPr/>
      </dsp:nvSpPr>
      <dsp:spPr>
        <a:xfrm>
          <a:off x="0" y="75386"/>
          <a:ext cx="4359964" cy="282812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30216973-73A8-434A-A495-4E455CD98D3B}">
      <dsp:nvSpPr>
        <dsp:cNvPr id="0" name=""/>
        <dsp:cNvSpPr/>
      </dsp:nvSpPr>
      <dsp:spPr>
        <a:xfrm>
          <a:off x="217998" y="26784"/>
          <a:ext cx="1799994" cy="270001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5357" tIns="0" rIns="115357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rPr>
            <a:t>Pc  / Laptop</a:t>
          </a:r>
          <a:endParaRPr lang="es-ES" sz="1800" kern="1200" dirty="0">
            <a:latin typeface="Calibri" pitchFamily="34" charset="0"/>
            <a:cs typeface="Calibri" pitchFamily="34" charset="0"/>
          </a:endParaRPr>
        </a:p>
      </dsp:txBody>
      <dsp:txXfrm>
        <a:off x="231178" y="39964"/>
        <a:ext cx="1773634" cy="243641"/>
      </dsp:txXfrm>
    </dsp:sp>
    <dsp:sp modelId="{CCCB4D26-8485-4EBC-B945-D2E1E4AE1333}">
      <dsp:nvSpPr>
        <dsp:cNvPr id="0" name=""/>
        <dsp:cNvSpPr/>
      </dsp:nvSpPr>
      <dsp:spPr>
        <a:xfrm>
          <a:off x="0" y="700334"/>
          <a:ext cx="4359964" cy="69693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50000"/>
              <a:hueOff val="386279"/>
              <a:satOff val="-36135"/>
              <a:lumOff val="35843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38382" tIns="312420" rIns="338382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C" sz="1800" kern="1200" dirty="0" smtClean="0">
              <a:latin typeface="Calibri" pitchFamily="34" charset="0"/>
              <a:cs typeface="Calibri" pitchFamily="34" charset="0"/>
            </a:rPr>
            <a:t>(C1) – (C2) - (L4) - [D]</a:t>
          </a:r>
          <a:endParaRPr lang="es-ES" sz="1800" kern="1200" dirty="0">
            <a:latin typeface="Calibri" pitchFamily="34" charset="0"/>
            <a:cs typeface="Calibri" pitchFamily="34" charset="0"/>
          </a:endParaRPr>
        </a:p>
      </dsp:txBody>
      <dsp:txXfrm>
        <a:off x="0" y="700334"/>
        <a:ext cx="4359964" cy="696937"/>
      </dsp:txXfrm>
    </dsp:sp>
    <dsp:sp modelId="{2B0482C2-6369-4E37-B905-4041CD95709A}">
      <dsp:nvSpPr>
        <dsp:cNvPr id="0" name=""/>
        <dsp:cNvSpPr/>
      </dsp:nvSpPr>
      <dsp:spPr>
        <a:xfrm>
          <a:off x="217998" y="439198"/>
          <a:ext cx="3599988" cy="490910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386279"/>
                <a:satOff val="-36135"/>
                <a:lumOff val="35843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386279"/>
                <a:satOff val="-36135"/>
                <a:lumOff val="35843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386279"/>
                <a:satOff val="-36135"/>
                <a:lumOff val="3584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5357" tIns="0" rIns="115357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1" kern="1200" dirty="0" smtClean="0">
              <a:latin typeface="Calibri" pitchFamily="34" charset="0"/>
              <a:cs typeface="Calibri" pitchFamily="34" charset="0"/>
            </a:rPr>
            <a:t>Contaminación mecánica [</a:t>
          </a:r>
          <a:r>
            <a:rPr lang="es-EC" sz="1800" b="1" kern="1200" dirty="0" err="1" smtClean="0">
              <a:latin typeface="Calibri" pitchFamily="34" charset="0"/>
              <a:cs typeface="Calibri" pitchFamily="34" charset="0"/>
            </a:rPr>
            <a:t>I.3</a:t>
          </a:r>
          <a:r>
            <a:rPr lang="es-EC" sz="1800" b="1" kern="1200" dirty="0" smtClean="0">
              <a:latin typeface="Calibri" pitchFamily="34" charset="0"/>
              <a:cs typeface="Calibri" pitchFamily="34" charset="0"/>
            </a:rPr>
            <a:t>] </a:t>
          </a:r>
          <a:endParaRPr lang="es-ES" sz="1800" b="1" kern="1200" dirty="0">
            <a:latin typeface="Calibri" pitchFamily="34" charset="0"/>
            <a:cs typeface="Calibri" pitchFamily="34" charset="0"/>
          </a:endParaRPr>
        </a:p>
      </dsp:txBody>
      <dsp:txXfrm>
        <a:off x="241962" y="463162"/>
        <a:ext cx="3552060" cy="442982"/>
      </dsp:txXfrm>
    </dsp:sp>
    <dsp:sp modelId="{4A72339A-55F9-4E6F-92F2-9198E9552189}">
      <dsp:nvSpPr>
        <dsp:cNvPr id="0" name=""/>
        <dsp:cNvSpPr/>
      </dsp:nvSpPr>
      <dsp:spPr>
        <a:xfrm>
          <a:off x="0" y="1779531"/>
          <a:ext cx="4359964" cy="69693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shade val="50000"/>
              <a:hueOff val="386279"/>
              <a:satOff val="-36135"/>
              <a:lumOff val="35843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338382" tIns="312420" rIns="338382" bIns="128016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C" sz="1800" kern="1200" dirty="0" smtClean="0">
              <a:latin typeface="Calibri" pitchFamily="34" charset="0"/>
              <a:cs typeface="Calibri" pitchFamily="34" charset="0"/>
            </a:rPr>
            <a:t>(C1) - (C2) - (L4) - [D]</a:t>
          </a:r>
          <a:endParaRPr lang="es-ES" sz="1800" kern="1200" dirty="0">
            <a:latin typeface="Calibri" pitchFamily="34" charset="0"/>
            <a:cs typeface="Calibri" pitchFamily="34" charset="0"/>
          </a:endParaRPr>
        </a:p>
      </dsp:txBody>
      <dsp:txXfrm>
        <a:off x="0" y="1779531"/>
        <a:ext cx="4359964" cy="696937"/>
      </dsp:txXfrm>
    </dsp:sp>
    <dsp:sp modelId="{1C4B41DD-BEC6-477F-8B01-DA6DC9CA4CC8}">
      <dsp:nvSpPr>
        <dsp:cNvPr id="0" name=""/>
        <dsp:cNvSpPr/>
      </dsp:nvSpPr>
      <dsp:spPr>
        <a:xfrm>
          <a:off x="217998" y="1486646"/>
          <a:ext cx="3599988" cy="514285"/>
        </a:xfrm>
        <a:prstGeom prst="roundRect">
          <a:avLst/>
        </a:prstGeom>
        <a:gradFill rotWithShape="0">
          <a:gsLst>
            <a:gs pos="0">
              <a:schemeClr val="accent1">
                <a:shade val="50000"/>
                <a:hueOff val="386279"/>
                <a:satOff val="-36135"/>
                <a:lumOff val="35843"/>
                <a:alphaOff val="0"/>
                <a:shade val="51000"/>
                <a:satMod val="130000"/>
              </a:schemeClr>
            </a:gs>
            <a:gs pos="80000">
              <a:schemeClr val="accent1">
                <a:shade val="50000"/>
                <a:hueOff val="386279"/>
                <a:satOff val="-36135"/>
                <a:lumOff val="35843"/>
                <a:alphaOff val="0"/>
                <a:shade val="93000"/>
                <a:satMod val="130000"/>
              </a:schemeClr>
            </a:gs>
            <a:gs pos="100000">
              <a:schemeClr val="accent1">
                <a:shade val="50000"/>
                <a:hueOff val="386279"/>
                <a:satOff val="-36135"/>
                <a:lumOff val="35843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5357" tIns="0" rIns="115357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C" sz="1800" b="1" kern="1200" dirty="0" smtClean="0">
              <a:latin typeface="Calibri" pitchFamily="34" charset="0"/>
              <a:cs typeface="Calibri" pitchFamily="34" charset="0"/>
            </a:rPr>
            <a:t>Condiciones inadecuadas de temperatura y/o humedad [</a:t>
          </a:r>
          <a:r>
            <a:rPr lang="es-EC" sz="1800" b="1" kern="1200" dirty="0" err="1" smtClean="0">
              <a:latin typeface="Calibri" pitchFamily="34" charset="0"/>
              <a:cs typeface="Calibri" pitchFamily="34" charset="0"/>
            </a:rPr>
            <a:t>I.6</a:t>
          </a:r>
          <a:r>
            <a:rPr lang="es-EC" sz="1800" b="1" kern="1200" dirty="0" smtClean="0">
              <a:latin typeface="Calibri" pitchFamily="34" charset="0"/>
              <a:cs typeface="Calibri" pitchFamily="34" charset="0"/>
            </a:rPr>
            <a:t>]</a:t>
          </a:r>
          <a:endParaRPr lang="es-ES" sz="1800" b="1" kern="1200" dirty="0">
            <a:latin typeface="Calibri" pitchFamily="34" charset="0"/>
            <a:cs typeface="Calibri" pitchFamily="34" charset="0"/>
          </a:endParaRPr>
        </a:p>
      </dsp:txBody>
      <dsp:txXfrm>
        <a:off x="243103" y="1511751"/>
        <a:ext cx="3549778" cy="4640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equation2">
  <dgm:title val=""/>
  <dgm:desc val=""/>
  <dgm:catLst>
    <dgm:cat type="relationship" pri="18000"/>
    <dgm:cat type="process" pri="2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linDir" val="fromL"/>
          <dgm:param type="fallback" val="2D"/>
        </dgm:alg>
      </dgm:if>
      <dgm:else name="Name3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ch" ptType="node" func="cnt" op="gte" val="3">
        <dgm:constrLst>
          <dgm:constr type="h" for="des" forName="node" refType="w" fact="0.5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ch" forName="lastNode" op="equ" val="65"/>
          <dgm:constr type="primFontSz" for="des" forName="node" op="equ" val="65"/>
          <dgm:constr type="primFontSz" for="des" forName="sibTrans" val="55"/>
          <dgm:constr type="primFontSz" for="des" forName="sibTrans" refType="primFontSz" refFor="des" refForName="node" op="lte" fact="0.8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if>
      <dgm:else name="Name6">
        <dgm:constrLst>
          <dgm:constr type="h" for="des" forName="node" refType="w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des" forName="node" val="65"/>
          <dgm:constr type="primFontSz" for="ch" forName="lastNode" refType="primFontSz" refFor="des" refForName="node" op="equ"/>
          <dgm:constr type="primFontSz" for="des" forName="sibTrans" val="55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else>
    </dgm:choose>
    <dgm:ruleLst/>
    <dgm:choose name="Name7">
      <dgm:if name="Name8" axis="ch" ptType="node" func="cnt" op="gte" val="1">
        <dgm:layoutNode name="vNodes">
          <dgm:alg type="lin">
            <dgm:param type="linDir" val="fromT"/>
            <dgm:param type="fallback" val="2D"/>
          </dgm:alg>
          <dgm:shape xmlns:r="http://schemas.openxmlformats.org/officeDocument/2006/relationships" r:blip="">
            <dgm:adjLst/>
          </dgm:shape>
          <dgm:presOf/>
          <dgm:constrLst/>
          <dgm:ruleLst/>
          <dgm:forEach name="Name9" axis="ch" ptType="node">
            <dgm:choose name="Name10">
              <dgm:if name="Name11" axis="self" func="revPos" op="neq" val="1">
                <dgm:layoutNode name="node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  <dgm:choose name="Name12">
                  <dgm:if name="Name13" axis="self" ptType="node" func="revPos" op="gt" val="2">
                    <dgm:forEach name="sibTransForEach" axis="followSib" ptType="sibTrans" cnt="1">
                      <dgm:layoutNode name="spacerT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  <dgm:layoutNode name="sibTrans">
                        <dgm:alg type="tx"/>
                        <dgm:shape xmlns:r="http://schemas.openxmlformats.org/officeDocument/2006/relationships" type="mathPlus" r:blip="">
                          <dgm:adjLst/>
                        </dgm:shape>
                        <dgm:presOf axis="self"/>
                        <dgm:constrLst>
                          <dgm:constr type="h" refType="w"/>
                          <dgm:constr type="lMarg"/>
                          <dgm:constr type="rMarg"/>
                          <dgm:constr type="tMarg"/>
                          <dgm:constr type="bMarg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spacerB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</dgm:forEach>
                  </dgm:if>
                  <dgm:else name="Name14"/>
                </dgm:choose>
              </dgm:if>
              <dgm:else name="Name15"/>
            </dgm:choose>
          </dgm:forEach>
        </dgm:layoutNode>
        <dgm:choose name="Name16">
          <dgm:if name="Name17" axis="ch" ptType="node" func="cnt" op="gt" val="1">
            <dgm:layoutNode name="sibTransLast">
              <dgm:alg type="conn">
                <dgm:param type="begPts" val="auto"/>
                <dgm:param type="endPts" val="auto"/>
                <dgm:param type="srcNode" val="vNodes"/>
                <dgm:param type="dstNode" val="lastNode"/>
              </dgm:alg>
              <dgm:shape xmlns:r="http://schemas.openxmlformats.org/officeDocument/2006/relationships" type="conn" r:blip="">
                <dgm:adjLst/>
              </dgm:shape>
              <dgm:presOf axis="ch" ptType="sibTrans" st="-1" cnt="1"/>
              <dgm:constrLst>
                <dgm:constr type="h" refType="w" fact="0.62"/>
                <dgm:constr type="connDist"/>
                <dgm:constr type="begPad" refType="connDist" fact="0.25"/>
                <dgm:constr type="endPad" refType="connDist" fact="0.22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ch desOrSelf" ptType="sibTrans sibTrans" st="-1 1" cnt="1 0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if>
          <dgm:else name="Name18"/>
        </dgm:choose>
        <dgm:layoutNode name="lastNode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ch desOrSelf" ptType="node node" st="-1 1" cnt="1 0"/>
          <dgm:constrLst>
            <dgm:constr type="h" refType="w"/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</dgm:if>
      <dgm:else name="Name19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1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340" cy="528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544" tIns="45272" rIns="90544" bIns="45272" numCol="1" anchor="t" anchorCtr="0" compatLnSpc="1">
            <a:prstTxWarp prst="textNoShape">
              <a:avLst/>
            </a:prstTxWarp>
          </a:bodyPr>
          <a:lstStyle>
            <a:lvl1pPr defTabSz="903402" eaLnBrk="1" hangingPunct="1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591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531" y="0"/>
            <a:ext cx="3022720" cy="528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544" tIns="45272" rIns="90544" bIns="45272" numCol="1" anchor="t" anchorCtr="0" compatLnSpc="1">
            <a:prstTxWarp prst="textNoShape">
              <a:avLst/>
            </a:prstTxWarp>
          </a:bodyPr>
          <a:lstStyle>
            <a:lvl1pPr algn="r" defTabSz="903402" eaLnBrk="1" hangingPunct="1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591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7216"/>
            <a:ext cx="2946340" cy="528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544" tIns="45272" rIns="90544" bIns="45272" numCol="1" anchor="b" anchorCtr="0" compatLnSpc="1">
            <a:prstTxWarp prst="textNoShape">
              <a:avLst/>
            </a:prstTxWarp>
          </a:bodyPr>
          <a:lstStyle>
            <a:lvl1pPr defTabSz="903402" eaLnBrk="1" hangingPunct="1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591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531" y="9427216"/>
            <a:ext cx="3022720" cy="528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544" tIns="45272" rIns="90544" bIns="45272" numCol="1" anchor="b" anchorCtr="0" compatLnSpc="1">
            <a:prstTxWarp prst="textNoShape">
              <a:avLst/>
            </a:prstTxWarp>
          </a:bodyPr>
          <a:lstStyle>
            <a:lvl1pPr algn="r" defTabSz="903402" eaLnBrk="1" hangingPunct="1">
              <a:defRPr sz="1200"/>
            </a:lvl1pPr>
          </a:lstStyle>
          <a:p>
            <a:pPr>
              <a:defRPr/>
            </a:pPr>
            <a:fld id="{6F692F61-17C7-444E-AEB7-278271C8F921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75358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70717" cy="497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005" tIns="48004" rIns="96005" bIns="48004" numCol="1" anchor="t" anchorCtr="0" compatLnSpc="1">
            <a:prstTxWarp prst="textNoShape">
              <a:avLst/>
            </a:prstTxWarp>
          </a:bodyPr>
          <a:lstStyle>
            <a:lvl1pPr defTabSz="958251" eaLnBrk="1" hangingPunct="1">
              <a:defRPr sz="13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7283" y="1"/>
            <a:ext cx="2970717" cy="497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005" tIns="48004" rIns="96005" bIns="48004" numCol="1" anchor="t" anchorCtr="0" compatLnSpc="1">
            <a:prstTxWarp prst="textNoShape">
              <a:avLst/>
            </a:prstTxWarp>
          </a:bodyPr>
          <a:lstStyle>
            <a:lvl1pPr algn="r" defTabSz="958251" eaLnBrk="1" hangingPunct="1">
              <a:defRPr sz="13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94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42975" y="746125"/>
            <a:ext cx="4973638" cy="3730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943" y="4724042"/>
            <a:ext cx="5028117" cy="4475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005" tIns="48004" rIns="96005" bIns="480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Klicken Sie, um die Formate des Vorlagentextes zu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9689"/>
            <a:ext cx="2970717" cy="4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005" tIns="48004" rIns="96005" bIns="48004" numCol="1" anchor="b" anchorCtr="0" compatLnSpc="1">
            <a:prstTxWarp prst="textNoShape">
              <a:avLst/>
            </a:prstTxWarp>
          </a:bodyPr>
          <a:lstStyle>
            <a:lvl1pPr defTabSz="958251" eaLnBrk="1" hangingPunct="1">
              <a:defRPr sz="13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7283" y="9449689"/>
            <a:ext cx="2970717" cy="49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005" tIns="48004" rIns="96005" bIns="48004" numCol="1" anchor="b" anchorCtr="0" compatLnSpc="1">
            <a:prstTxWarp prst="textNoShape">
              <a:avLst/>
            </a:prstTxWarp>
          </a:bodyPr>
          <a:lstStyle>
            <a:lvl1pPr algn="r" defTabSz="958251" eaLnBrk="1" hangingPunct="1">
              <a:defRPr sz="1300"/>
            </a:lvl1pPr>
          </a:lstStyle>
          <a:p>
            <a:pPr>
              <a:defRPr/>
            </a:pPr>
            <a:fld id="{8327A199-D98E-4B7B-862C-C5F025147381}" type="slidenum">
              <a:rPr lang="en-GB"/>
              <a:pPr>
                <a:defRPr/>
              </a:pPr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706293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9C55692-F360-494E-8639-0DFEAD2612D5}" type="slidenum">
              <a:rPr lang="en-GB" smtClean="0"/>
              <a:pPr/>
              <a:t>1</a:t>
            </a:fld>
            <a:endParaRPr lang="en-GB" dirty="0" smtClean="0"/>
          </a:p>
        </p:txBody>
      </p:sp>
      <p:sp>
        <p:nvSpPr>
          <p:cNvPr id="20483" name="Rectangle 1026"/>
          <p:cNvSpPr>
            <a:spLocks noGrp="1" noChangeArrowheads="1"/>
          </p:cNvSpPr>
          <p:nvPr>
            <p:ph type="body" idx="1"/>
          </p:nvPr>
        </p:nvSpPr>
        <p:spPr>
          <a:xfrm>
            <a:off x="248644" y="5311537"/>
            <a:ext cx="6432219" cy="4096416"/>
          </a:xfrm>
          <a:noFill/>
          <a:ln/>
        </p:spPr>
        <p:txBody>
          <a:bodyPr lIns="90832" tIns="45418" rIns="90832" bIns="45418"/>
          <a:lstStyle/>
          <a:p>
            <a:pPr eaLnBrk="1" hangingPunct="1"/>
            <a:endParaRPr lang="en-GB" dirty="0" smtClean="0"/>
          </a:p>
        </p:txBody>
      </p:sp>
      <p:sp>
        <p:nvSpPr>
          <p:cNvPr id="20484" name="Rectangle 1027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863" y="0"/>
            <a:ext cx="6772275" cy="5078413"/>
          </a:xfrm>
          <a:ln/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1F9DF39-6622-409C-A268-8D6913979342}" type="slidenum">
              <a:rPr lang="en-GB" smtClean="0"/>
              <a:pPr/>
              <a:t>10</a:t>
            </a:fld>
            <a:endParaRPr lang="en-GB" dirty="0" smtClean="0"/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59698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85126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4062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43005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80296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54420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1F9DF39-6622-409C-A268-8D6913979342}" type="slidenum">
              <a:rPr lang="en-GB" smtClean="0"/>
              <a:pPr/>
              <a:t>17</a:t>
            </a:fld>
            <a:endParaRPr lang="en-GB" smtClean="0"/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93699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74029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83160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231249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56836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003305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146665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6635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695361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932711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51136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9A906C7-40CF-4276-BB1A-2083BB461ECE}" type="slidenum">
              <a:rPr lang="en-GB" smtClean="0"/>
              <a:pPr/>
              <a:t>3</a:t>
            </a:fld>
            <a:endParaRPr lang="en-GB" dirty="0" smtClean="0"/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53913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14974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9A906C7-40CF-4276-BB1A-2083BB461ECE}" type="slidenum">
              <a:rPr lang="en-GB" smtClean="0"/>
              <a:pPr/>
              <a:t>6</a:t>
            </a:fld>
            <a:endParaRPr lang="en-GB" dirty="0" smtClean="0"/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6183027-5C0B-4597-9080-5E70CF144323}" type="slidenum">
              <a:rPr lang="en-GB" smtClean="0"/>
              <a:pPr/>
              <a:t>7</a:t>
            </a:fld>
            <a:endParaRPr lang="en-GB" dirty="0" smtClean="0"/>
          </a:p>
        </p:txBody>
      </p:sp>
      <p:sp>
        <p:nvSpPr>
          <p:cNvPr id="225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27A199-D98E-4B7B-862C-C5F025147381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5506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2561819" y="1834441"/>
            <a:ext cx="6081713" cy="909637"/>
          </a:xfrm>
        </p:spPr>
        <p:txBody>
          <a:bodyPr lIns="91440" rIns="91440" anchor="b"/>
          <a:lstStyle>
            <a:lvl1pPr>
              <a:defRPr sz="2800" baseline="0">
                <a:solidFill>
                  <a:schemeClr val="bg1"/>
                </a:solidFill>
              </a:defRPr>
            </a:lvl1pPr>
          </a:lstStyle>
          <a:p>
            <a:endParaRPr lang="es-EC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pic>
        <p:nvPicPr>
          <p:cNvPr id="7" name="9 Imagen" descr="2110100046-331001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8FBFF"/>
              </a:clrFrom>
              <a:clrTo>
                <a:srgbClr val="F8FBFF">
                  <a:alpha val="0"/>
                </a:srgbClr>
              </a:clrTo>
            </a:clrChange>
          </a:blip>
          <a:srcRect l="3062" t="6410" r="3156" b="21388"/>
          <a:stretch>
            <a:fillRect/>
          </a:stretch>
        </p:blipFill>
        <p:spPr bwMode="auto">
          <a:xfrm>
            <a:off x="249238" y="6267450"/>
            <a:ext cx="1998662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7 CuadroTexto"/>
          <p:cNvSpPr txBox="1"/>
          <p:nvPr userDrawn="1"/>
        </p:nvSpPr>
        <p:spPr>
          <a:xfrm>
            <a:off x="5727075" y="6307593"/>
            <a:ext cx="3562065" cy="4770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EC" sz="25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GSI</a:t>
            </a:r>
            <a:r>
              <a:rPr lang="es-EC" sz="2500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- Gestión </a:t>
            </a:r>
            <a:r>
              <a:rPr lang="es-EC" sz="25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de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Activos</a:t>
            </a:r>
            <a:endParaRPr lang="es-EC" sz="2500" b="1" dirty="0">
              <a:solidFill>
                <a:schemeClr val="accent6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 spd="med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711950" y="622300"/>
            <a:ext cx="2132013" cy="528637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14325" y="622300"/>
            <a:ext cx="6245225" cy="528637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pic>
        <p:nvPicPr>
          <p:cNvPr id="6" name="9 Imagen" descr="2110100046-331001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8FBFF"/>
              </a:clrFrom>
              <a:clrTo>
                <a:srgbClr val="F8FBFF">
                  <a:alpha val="0"/>
                </a:srgbClr>
              </a:clrTo>
            </a:clrChange>
          </a:blip>
          <a:srcRect l="3062" t="6410" r="3156" b="21388"/>
          <a:stretch>
            <a:fillRect/>
          </a:stretch>
        </p:blipFill>
        <p:spPr bwMode="auto">
          <a:xfrm>
            <a:off x="249238" y="6267450"/>
            <a:ext cx="1998662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6 CuadroTexto"/>
          <p:cNvSpPr txBox="1"/>
          <p:nvPr userDrawn="1"/>
        </p:nvSpPr>
        <p:spPr>
          <a:xfrm>
            <a:off x="5727075" y="6307593"/>
            <a:ext cx="3562065" cy="4770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EC" sz="25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GSI</a:t>
            </a:r>
            <a:r>
              <a:rPr lang="es-EC" sz="2500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- Gestión </a:t>
            </a:r>
            <a:r>
              <a:rPr lang="es-EC" sz="25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de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Activos</a:t>
            </a:r>
            <a:endParaRPr lang="es-EC" sz="2500" b="1" dirty="0">
              <a:solidFill>
                <a:schemeClr val="accent6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 userDrawn="1"/>
        </p:nvSpPr>
        <p:spPr>
          <a:xfrm>
            <a:off x="5727075" y="6307593"/>
            <a:ext cx="3562065" cy="4770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EC" sz="25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GSI</a:t>
            </a:r>
            <a:r>
              <a:rPr lang="es-EC" sz="2500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- Gestión </a:t>
            </a:r>
            <a:r>
              <a:rPr lang="es-EC" sz="25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de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Activos</a:t>
            </a:r>
            <a:endParaRPr lang="es-EC" sz="2500" b="1" dirty="0">
              <a:solidFill>
                <a:schemeClr val="accent6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9 Imagen" descr="2110100046-331001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8FBFF"/>
              </a:clrFrom>
              <a:clrTo>
                <a:srgbClr val="F8FBFF">
                  <a:alpha val="0"/>
                </a:srgbClr>
              </a:clrTo>
            </a:clrChange>
          </a:blip>
          <a:srcRect l="3062" t="6410" r="3156" b="21388"/>
          <a:stretch>
            <a:fillRect/>
          </a:stretch>
        </p:blipFill>
        <p:spPr bwMode="auto">
          <a:xfrm>
            <a:off x="249238" y="6267450"/>
            <a:ext cx="1998662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30200" y="0"/>
            <a:ext cx="8515350" cy="600075"/>
          </a:xfrm>
        </p:spPr>
        <p:txBody>
          <a:bodyPr>
            <a:scene3d>
              <a:camera prst="orthographicFront"/>
              <a:lightRig rig="soft" dir="t">
                <a:rot lat="0" lon="0" rev="10800000"/>
              </a:lightRig>
            </a:scene3d>
            <a:sp3d>
              <a:contourClr>
                <a:srgbClr val="DDDDDD"/>
              </a:contourClr>
            </a:sp3d>
          </a:bodyPr>
          <a:lstStyle>
            <a:lvl1pPr algn="l">
              <a:defRPr b="1" i="1" u="none" cap="none" spc="15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s-ES" noProof="0" dirty="0" smtClean="0"/>
              <a:t>Haga clic para modificar el estilo de título del patrón</a:t>
            </a:r>
            <a:endParaRPr lang="es-ES" noProof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44488" y="1206500"/>
            <a:ext cx="8524875" cy="4029075"/>
          </a:xfrm>
        </p:spPr>
        <p:txBody>
          <a:bodyPr/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CuadroTexto"/>
          <p:cNvSpPr txBox="1"/>
          <p:nvPr userDrawn="1"/>
        </p:nvSpPr>
        <p:spPr>
          <a:xfrm>
            <a:off x="5727075" y="6307593"/>
            <a:ext cx="3562065" cy="4770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EC" sz="25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GSI</a:t>
            </a:r>
            <a:r>
              <a:rPr lang="es-EC" sz="2500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- Gestión </a:t>
            </a:r>
            <a:r>
              <a:rPr lang="es-EC" sz="25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de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Activos</a:t>
            </a:r>
            <a:endParaRPr lang="es-EC" sz="2500" b="1" dirty="0">
              <a:solidFill>
                <a:schemeClr val="accent6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 spd="med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14325" y="0"/>
            <a:ext cx="8515350" cy="600075"/>
          </a:xfrm>
        </p:spPr>
        <p:txBody>
          <a:bodyPr/>
          <a:lstStyle>
            <a:lvl1pPr>
              <a:defRPr lang="es-ES" sz="2400" b="1" i="1" u="none" cap="none" spc="150" noProof="0" dirty="0" smtClean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19088" y="1879600"/>
            <a:ext cx="4186237" cy="4029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57725" y="1879600"/>
            <a:ext cx="4186238" cy="4029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pic>
        <p:nvPicPr>
          <p:cNvPr id="7" name="9 Imagen" descr="2110100046-331001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8FBFF"/>
              </a:clrFrom>
              <a:clrTo>
                <a:srgbClr val="F8FBFF">
                  <a:alpha val="0"/>
                </a:srgbClr>
              </a:clrTo>
            </a:clrChange>
          </a:blip>
          <a:srcRect l="3062" t="6410" r="3156" b="21388"/>
          <a:stretch>
            <a:fillRect/>
          </a:stretch>
        </p:blipFill>
        <p:spPr bwMode="auto">
          <a:xfrm>
            <a:off x="249238" y="6267450"/>
            <a:ext cx="1998662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7 CuadroTexto"/>
          <p:cNvSpPr txBox="1"/>
          <p:nvPr userDrawn="1"/>
        </p:nvSpPr>
        <p:spPr>
          <a:xfrm>
            <a:off x="5727075" y="6307593"/>
            <a:ext cx="3562065" cy="4770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EC" sz="25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GSI</a:t>
            </a:r>
            <a:r>
              <a:rPr lang="es-EC" sz="2500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- Gestión </a:t>
            </a:r>
            <a:r>
              <a:rPr lang="es-EC" sz="25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de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Activos</a:t>
            </a:r>
            <a:endParaRPr lang="es-EC" sz="2500" b="1" dirty="0">
              <a:solidFill>
                <a:schemeClr val="accent6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 spd="med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pic>
        <p:nvPicPr>
          <p:cNvPr id="6" name="9 Imagen" descr="2110100046-331001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8FBFF"/>
              </a:clrFrom>
              <a:clrTo>
                <a:srgbClr val="F8FBFF">
                  <a:alpha val="0"/>
                </a:srgbClr>
              </a:clrTo>
            </a:clrChange>
          </a:blip>
          <a:srcRect l="3062" t="6410" r="3156" b="21388"/>
          <a:stretch>
            <a:fillRect/>
          </a:stretch>
        </p:blipFill>
        <p:spPr bwMode="auto">
          <a:xfrm>
            <a:off x="249238" y="6267450"/>
            <a:ext cx="1998662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6 CuadroTexto"/>
          <p:cNvSpPr txBox="1"/>
          <p:nvPr userDrawn="1"/>
        </p:nvSpPr>
        <p:spPr>
          <a:xfrm>
            <a:off x="5727075" y="6307593"/>
            <a:ext cx="3562065" cy="4770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EC" sz="25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GSI</a:t>
            </a:r>
            <a:r>
              <a:rPr lang="es-EC" sz="2500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- Gestión </a:t>
            </a:r>
            <a:r>
              <a:rPr lang="es-EC" sz="25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de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Activos</a:t>
            </a:r>
            <a:endParaRPr lang="es-EC" sz="2500" b="1" dirty="0">
              <a:solidFill>
                <a:schemeClr val="accent6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>
            <a:lvl1pPr>
              <a:defRPr lang="es-ES" sz="2400" b="1" i="1" u="none" cap="none" spc="150" noProof="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pic>
        <p:nvPicPr>
          <p:cNvPr id="9" name="9 Imagen" descr="2110100046-331001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8FBFF"/>
              </a:clrFrom>
              <a:clrTo>
                <a:srgbClr val="F8FBFF">
                  <a:alpha val="0"/>
                </a:srgbClr>
              </a:clrTo>
            </a:clrChange>
          </a:blip>
          <a:srcRect l="3062" t="6410" r="3156" b="21388"/>
          <a:stretch>
            <a:fillRect/>
          </a:stretch>
        </p:blipFill>
        <p:spPr bwMode="auto">
          <a:xfrm>
            <a:off x="249238" y="6267450"/>
            <a:ext cx="1998662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9 CuadroTexto"/>
          <p:cNvSpPr txBox="1"/>
          <p:nvPr userDrawn="1"/>
        </p:nvSpPr>
        <p:spPr>
          <a:xfrm>
            <a:off x="5727075" y="6307593"/>
            <a:ext cx="3562065" cy="4770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EC" sz="25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GSI</a:t>
            </a:r>
            <a:r>
              <a:rPr lang="es-EC" sz="2500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- Gestión </a:t>
            </a:r>
            <a:r>
              <a:rPr lang="es-EC" sz="25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de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Activos</a:t>
            </a:r>
            <a:endParaRPr lang="es-EC" sz="2500" b="1" dirty="0">
              <a:solidFill>
                <a:schemeClr val="accent6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 spd="med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s-ES" sz="2400" b="1" i="1" u="none" cap="none" spc="150" noProof="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 pitchFamily="34" charset="0"/>
                <a:ea typeface="+mj-ea"/>
                <a:cs typeface="+mj-cs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pic>
        <p:nvPicPr>
          <p:cNvPr id="5" name="9 Imagen" descr="2110100046-331001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8FBFF"/>
              </a:clrFrom>
              <a:clrTo>
                <a:srgbClr val="F8FBFF">
                  <a:alpha val="0"/>
                </a:srgbClr>
              </a:clrTo>
            </a:clrChange>
          </a:blip>
          <a:srcRect l="3062" t="6410" r="3156" b="21388"/>
          <a:stretch>
            <a:fillRect/>
          </a:stretch>
        </p:blipFill>
        <p:spPr bwMode="auto">
          <a:xfrm>
            <a:off x="249238" y="6267450"/>
            <a:ext cx="1998662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5 CuadroTexto"/>
          <p:cNvSpPr txBox="1"/>
          <p:nvPr userDrawn="1"/>
        </p:nvSpPr>
        <p:spPr>
          <a:xfrm>
            <a:off x="5727075" y="6307593"/>
            <a:ext cx="3562065" cy="4770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EC" sz="25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GSI</a:t>
            </a:r>
            <a:r>
              <a:rPr lang="es-EC" sz="2500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- Gestión </a:t>
            </a:r>
            <a:r>
              <a:rPr lang="es-EC" sz="25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de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Activos</a:t>
            </a:r>
            <a:endParaRPr lang="es-EC" sz="2500" b="1" dirty="0">
              <a:solidFill>
                <a:schemeClr val="accent6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 spd="med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9 Imagen" descr="2110100046-331001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8FBFF"/>
              </a:clrFrom>
              <a:clrTo>
                <a:srgbClr val="F8FBFF">
                  <a:alpha val="0"/>
                </a:srgbClr>
              </a:clrTo>
            </a:clrChange>
          </a:blip>
          <a:srcRect l="3062" t="6410" r="3156" b="21388"/>
          <a:stretch>
            <a:fillRect/>
          </a:stretch>
        </p:blipFill>
        <p:spPr bwMode="auto">
          <a:xfrm>
            <a:off x="249238" y="6267450"/>
            <a:ext cx="1998662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4 CuadroTexto"/>
          <p:cNvSpPr txBox="1"/>
          <p:nvPr userDrawn="1"/>
        </p:nvSpPr>
        <p:spPr>
          <a:xfrm>
            <a:off x="5727075" y="6307593"/>
            <a:ext cx="3562065" cy="4770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EC" sz="25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GSI</a:t>
            </a:r>
            <a:r>
              <a:rPr lang="es-EC" sz="2500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- Gestión </a:t>
            </a:r>
            <a:r>
              <a:rPr lang="es-EC" sz="25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de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Activos</a:t>
            </a:r>
            <a:endParaRPr lang="es-EC" sz="2500" b="1" dirty="0">
              <a:solidFill>
                <a:schemeClr val="accent6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 spd="med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pic>
        <p:nvPicPr>
          <p:cNvPr id="7" name="9 Imagen" descr="2110100046-331001.jpg"/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8FBFF"/>
              </a:clrFrom>
              <a:clrTo>
                <a:srgbClr val="F8FBFF">
                  <a:alpha val="0"/>
                </a:srgbClr>
              </a:clrTo>
            </a:clrChange>
          </a:blip>
          <a:srcRect l="3062" t="6410" r="3156" b="21388"/>
          <a:stretch>
            <a:fillRect/>
          </a:stretch>
        </p:blipFill>
        <p:spPr bwMode="auto">
          <a:xfrm>
            <a:off x="249238" y="6267450"/>
            <a:ext cx="1998662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7 CuadroTexto"/>
          <p:cNvSpPr txBox="1"/>
          <p:nvPr userDrawn="1"/>
        </p:nvSpPr>
        <p:spPr>
          <a:xfrm>
            <a:off x="5727075" y="6307593"/>
            <a:ext cx="3562065" cy="4770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EC" sz="25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GSI</a:t>
            </a:r>
            <a:r>
              <a:rPr lang="es-EC" sz="2500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- Gestión </a:t>
            </a:r>
            <a:r>
              <a:rPr lang="es-EC" sz="25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de </a:t>
            </a:r>
            <a:r>
              <a:rPr lang="es-EC" sz="2500" b="1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Activos</a:t>
            </a:r>
            <a:endParaRPr lang="es-EC" sz="2500" b="1" dirty="0">
              <a:solidFill>
                <a:schemeClr val="accent6">
                  <a:lumMod val="60000"/>
                  <a:lumOff val="4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 spd="med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4325" y="622300"/>
            <a:ext cx="851535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C" dirty="0" err="1" smtClean="0"/>
              <a:t>Click</a:t>
            </a:r>
            <a:r>
              <a:rPr lang="es-EC" dirty="0" smtClean="0"/>
              <a:t> </a:t>
            </a:r>
            <a:r>
              <a:rPr lang="es-EC" dirty="0" err="1" smtClean="0"/>
              <a:t>to</a:t>
            </a:r>
            <a:r>
              <a:rPr lang="es-EC" dirty="0" smtClean="0"/>
              <a:t> </a:t>
            </a:r>
            <a:r>
              <a:rPr lang="es-EC" dirty="0" err="1" smtClean="0"/>
              <a:t>edit</a:t>
            </a:r>
            <a:r>
              <a:rPr lang="es-EC" dirty="0" smtClean="0"/>
              <a:t> </a:t>
            </a:r>
            <a:r>
              <a:rPr lang="es-EC" dirty="0" err="1" smtClean="0"/>
              <a:t>Master</a:t>
            </a:r>
            <a:r>
              <a:rPr lang="es-EC" dirty="0" smtClean="0"/>
              <a:t> </a:t>
            </a:r>
            <a:r>
              <a:rPr lang="es-EC" dirty="0" err="1" smtClean="0"/>
              <a:t>title</a:t>
            </a:r>
            <a:r>
              <a:rPr lang="es-EC" dirty="0" smtClean="0"/>
              <a:t> </a:t>
            </a:r>
            <a:r>
              <a:rPr lang="es-EC" dirty="0" err="1" smtClean="0"/>
              <a:t>style</a:t>
            </a:r>
            <a:endParaRPr lang="es-EC" dirty="0" smtClean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9088" y="1879600"/>
            <a:ext cx="8524875" cy="402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C" smtClean="0"/>
              <a:t>Click to edit Master text styles</a:t>
            </a:r>
          </a:p>
          <a:p>
            <a:pPr lvl="1"/>
            <a:r>
              <a:rPr lang="es-EC" smtClean="0"/>
              <a:t>Second level</a:t>
            </a:r>
          </a:p>
          <a:p>
            <a:pPr lvl="2"/>
            <a:r>
              <a:rPr lang="es-EC" smtClean="0"/>
              <a:t>Third level</a:t>
            </a:r>
          </a:p>
          <a:p>
            <a:pPr lvl="3"/>
            <a:r>
              <a:rPr lang="es-EC" smtClean="0"/>
              <a:t>Fourth level</a:t>
            </a:r>
          </a:p>
          <a:p>
            <a:pPr lvl="4"/>
            <a:r>
              <a:rPr lang="es-EC" smtClean="0"/>
              <a:t>Fifth level</a:t>
            </a:r>
          </a:p>
        </p:txBody>
      </p:sp>
      <p:sp>
        <p:nvSpPr>
          <p:cNvPr id="104448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76225" y="6408738"/>
            <a:ext cx="27622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de-DE"/>
              <a:t>Here comes your footer  </a:t>
            </a:r>
            <a:r>
              <a:rPr lang="de-DE">
                <a:sym typeface="Wingdings" pitchFamily="2" charset="2"/>
              </a:rPr>
              <a:t></a:t>
            </a:r>
            <a:r>
              <a:rPr lang="de-DE"/>
              <a:t>  Page </a:t>
            </a:r>
            <a:fld id="{B2A23E84-ED14-4AAD-B725-29F3EB7E0DB0}" type="slidenum">
              <a:rPr lang="de-DE"/>
              <a:pPr>
                <a:defRPr/>
              </a:pPr>
              <a:t>‹Nº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00" r:id="rId3"/>
    <p:sldLayoutId id="2147483701" r:id="rId4"/>
    <p:sldLayoutId id="2147483707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8" r:id="rId11"/>
  </p:sldLayoutIdLst>
  <p:transition spd="med">
    <p:wipe dir="r"/>
  </p:transition>
  <p:hf sldNum="0" hd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Calibri" pitchFamily="34" charset="0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accent2"/>
          </a:solidFill>
          <a:latin typeface="Arial" charset="0"/>
        </a:defRPr>
      </a:lvl9pPr>
    </p:titleStyle>
    <p:bodyStyle>
      <a:lvl1pPr marL="190500" indent="-190500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81000" indent="-188913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-"/>
        <a:defRPr sz="2800">
          <a:solidFill>
            <a:schemeClr val="tx1"/>
          </a:solidFill>
          <a:latin typeface="+mn-lt"/>
        </a:defRPr>
      </a:lvl2pPr>
      <a:lvl3pPr marL="561975" indent="-179388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-"/>
        <a:defRPr sz="2400">
          <a:solidFill>
            <a:schemeClr val="tx1"/>
          </a:solidFill>
          <a:latin typeface="+mn-lt"/>
        </a:defRPr>
      </a:lvl3pPr>
      <a:lvl4pPr marL="752475" indent="-188913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Char char="-"/>
        <a:defRPr sz="2000">
          <a:solidFill>
            <a:schemeClr val="tx1"/>
          </a:solidFill>
          <a:latin typeface="+mn-lt"/>
        </a:defRPr>
      </a:lvl4pPr>
      <a:lvl5pPr marL="962025" indent="-207963" algn="l" rtl="0" eaLnBrk="0" fontAlgn="base" hangingPunct="0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14192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18764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23336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2790825" indent="-207963" algn="l" rtl="0" fontAlgn="base">
        <a:spcBef>
          <a:spcPct val="4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9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8.xml"/><Relationship Id="rId11" Type="http://schemas.openxmlformats.org/officeDocument/2006/relationships/image" Target="../media/image7.png"/><Relationship Id="rId5" Type="http://schemas.openxmlformats.org/officeDocument/2006/relationships/tags" Target="../tags/tag11.xml"/><Relationship Id="rId10" Type="http://schemas.openxmlformats.org/officeDocument/2006/relationships/image" Target="../media/image3.jpeg"/><Relationship Id="rId4" Type="http://schemas.openxmlformats.org/officeDocument/2006/relationships/tags" Target="../tags/tag10.xml"/><Relationship Id="rId9" Type="http://schemas.openxmlformats.org/officeDocument/2006/relationships/image" Target="../media/image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microsoft.com/office/2007/relationships/diagramDrawing" Target="../diagrams/drawing4.xml"/><Relationship Id="rId3" Type="http://schemas.openxmlformats.org/officeDocument/2006/relationships/chart" Target="../charts/chart1.xml"/><Relationship Id="rId7" Type="http://schemas.openxmlformats.org/officeDocument/2006/relationships/diagramColors" Target="../diagrams/colors3.xml"/><Relationship Id="rId12" Type="http://schemas.openxmlformats.org/officeDocument/2006/relationships/diagramColors" Target="../diagrams/colors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3.xml"/><Relationship Id="rId11" Type="http://schemas.openxmlformats.org/officeDocument/2006/relationships/diagramQuickStyle" Target="../diagrams/quickStyle4.xml"/><Relationship Id="rId5" Type="http://schemas.openxmlformats.org/officeDocument/2006/relationships/diagramLayout" Target="../diagrams/layout3.xml"/><Relationship Id="rId10" Type="http://schemas.openxmlformats.org/officeDocument/2006/relationships/diagramLayout" Target="../diagrams/layout4.xml"/><Relationship Id="rId4" Type="http://schemas.openxmlformats.org/officeDocument/2006/relationships/diagramData" Target="../diagrams/data3.xml"/><Relationship Id="rId9" Type="http://schemas.openxmlformats.org/officeDocument/2006/relationships/diagramData" Target="../diagrams/data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13" Type="http://schemas.openxmlformats.org/officeDocument/2006/relationships/image" Target="../media/image24.jpe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microsoft.com/office/2007/relationships/diagramDrawing" Target="../diagrams/drawing6.xml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11" Type="http://schemas.openxmlformats.org/officeDocument/2006/relationships/diagramColors" Target="../diagrams/colors6.xml"/><Relationship Id="rId5" Type="http://schemas.openxmlformats.org/officeDocument/2006/relationships/diagramQuickStyle" Target="../diagrams/quickStyle5.xml"/><Relationship Id="rId15" Type="http://schemas.openxmlformats.org/officeDocument/2006/relationships/image" Target="../media/image26.jpeg"/><Relationship Id="rId10" Type="http://schemas.openxmlformats.org/officeDocument/2006/relationships/diagramQuickStyle" Target="../diagrams/quickStyle6.xml"/><Relationship Id="rId4" Type="http://schemas.openxmlformats.org/officeDocument/2006/relationships/diagramLayout" Target="../diagrams/layout5.xml"/><Relationship Id="rId9" Type="http://schemas.openxmlformats.org/officeDocument/2006/relationships/diagramLayout" Target="../diagrams/layout6.xml"/><Relationship Id="rId1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8.xml"/><Relationship Id="rId13" Type="http://schemas.openxmlformats.org/officeDocument/2006/relationships/image" Target="../media/image28.jpeg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12" Type="http://schemas.microsoft.com/office/2007/relationships/diagramDrawing" Target="../diagrams/drawing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7.xml"/><Relationship Id="rId11" Type="http://schemas.openxmlformats.org/officeDocument/2006/relationships/diagramColors" Target="../diagrams/colors8.xml"/><Relationship Id="rId5" Type="http://schemas.openxmlformats.org/officeDocument/2006/relationships/diagramQuickStyle" Target="../diagrams/quickStyle7.xml"/><Relationship Id="rId10" Type="http://schemas.openxmlformats.org/officeDocument/2006/relationships/diagramQuickStyle" Target="../diagrams/quickStyle8.xml"/><Relationship Id="rId4" Type="http://schemas.openxmlformats.org/officeDocument/2006/relationships/diagramLayout" Target="../diagrams/layout7.xml"/><Relationship Id="rId9" Type="http://schemas.openxmlformats.org/officeDocument/2006/relationships/diagramLayout" Target="../diagrams/layout8.xml"/><Relationship Id="rId14" Type="http://schemas.openxmlformats.org/officeDocument/2006/relationships/image" Target="../media/image29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0.xml"/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12" Type="http://schemas.microsoft.com/office/2007/relationships/diagramDrawing" Target="../diagrams/drawing10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9.xml"/><Relationship Id="rId11" Type="http://schemas.openxmlformats.org/officeDocument/2006/relationships/diagramColors" Target="../diagrams/colors10.xml"/><Relationship Id="rId5" Type="http://schemas.openxmlformats.org/officeDocument/2006/relationships/diagramQuickStyle" Target="../diagrams/quickStyle9.xml"/><Relationship Id="rId10" Type="http://schemas.openxmlformats.org/officeDocument/2006/relationships/diagramQuickStyle" Target="../diagrams/quickStyle10.xml"/><Relationship Id="rId4" Type="http://schemas.openxmlformats.org/officeDocument/2006/relationships/diagramLayout" Target="../diagrams/layout9.xml"/><Relationship Id="rId9" Type="http://schemas.openxmlformats.org/officeDocument/2006/relationships/diagramLayout" Target="../diagrams/layout10.xml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1.xml"/><Relationship Id="rId3" Type="http://schemas.openxmlformats.org/officeDocument/2006/relationships/chart" Target="../charts/chart2.xml"/><Relationship Id="rId7" Type="http://schemas.openxmlformats.org/officeDocument/2006/relationships/diagramColors" Target="../diagrams/colors1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1.xml"/><Relationship Id="rId5" Type="http://schemas.openxmlformats.org/officeDocument/2006/relationships/diagramLayout" Target="../diagrams/layout11.xml"/><Relationship Id="rId4" Type="http://schemas.openxmlformats.org/officeDocument/2006/relationships/diagramData" Target="../diagrams/data1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3.xml"/><Relationship Id="rId7" Type="http://schemas.openxmlformats.org/officeDocument/2006/relationships/notesSlide" Target="../notesSlides/notesSlide1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8.xml"/><Relationship Id="rId11" Type="http://schemas.openxmlformats.org/officeDocument/2006/relationships/image" Target="../media/image7.png"/><Relationship Id="rId5" Type="http://schemas.openxmlformats.org/officeDocument/2006/relationships/tags" Target="../tags/tag15.xml"/><Relationship Id="rId10" Type="http://schemas.openxmlformats.org/officeDocument/2006/relationships/image" Target="../media/image3.jpeg"/><Relationship Id="rId4" Type="http://schemas.openxmlformats.org/officeDocument/2006/relationships/tags" Target="../tags/tag14.xml"/><Relationship Id="rId9" Type="http://schemas.openxmlformats.org/officeDocument/2006/relationships/image" Target="../media/image6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3.xml"/><Relationship Id="rId13" Type="http://schemas.openxmlformats.org/officeDocument/2006/relationships/diagramData" Target="../diagrams/data14.xml"/><Relationship Id="rId18" Type="http://schemas.openxmlformats.org/officeDocument/2006/relationships/image" Target="../media/image30.jpeg"/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12" Type="http://schemas.microsoft.com/office/2007/relationships/diagramDrawing" Target="../diagrams/drawing13.xml"/><Relationship Id="rId17" Type="http://schemas.microsoft.com/office/2007/relationships/diagramDrawing" Target="../diagrams/drawing14.xml"/><Relationship Id="rId2" Type="http://schemas.openxmlformats.org/officeDocument/2006/relationships/notesSlide" Target="../notesSlides/notesSlide18.xml"/><Relationship Id="rId16" Type="http://schemas.openxmlformats.org/officeDocument/2006/relationships/diagramColors" Target="../diagrams/colors14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2.xml"/><Relationship Id="rId11" Type="http://schemas.openxmlformats.org/officeDocument/2006/relationships/diagramColors" Target="../diagrams/colors13.xml"/><Relationship Id="rId5" Type="http://schemas.openxmlformats.org/officeDocument/2006/relationships/diagramQuickStyle" Target="../diagrams/quickStyle12.xml"/><Relationship Id="rId15" Type="http://schemas.openxmlformats.org/officeDocument/2006/relationships/diagramQuickStyle" Target="../diagrams/quickStyle14.xml"/><Relationship Id="rId10" Type="http://schemas.openxmlformats.org/officeDocument/2006/relationships/diagramQuickStyle" Target="../diagrams/quickStyle13.xml"/><Relationship Id="rId4" Type="http://schemas.openxmlformats.org/officeDocument/2006/relationships/diagramLayout" Target="../diagrams/layout12.xml"/><Relationship Id="rId9" Type="http://schemas.openxmlformats.org/officeDocument/2006/relationships/diagramLayout" Target="../diagrams/layout13.xml"/><Relationship Id="rId14" Type="http://schemas.openxmlformats.org/officeDocument/2006/relationships/diagramLayout" Target="../diagrams/layout14.xml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5.xml"/><Relationship Id="rId3" Type="http://schemas.openxmlformats.org/officeDocument/2006/relationships/image" Target="../media/image31.jpeg"/><Relationship Id="rId7" Type="http://schemas.openxmlformats.org/officeDocument/2006/relationships/diagramColors" Target="../diagrams/colors15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5.xml"/><Relationship Id="rId5" Type="http://schemas.openxmlformats.org/officeDocument/2006/relationships/diagramLayout" Target="../diagrams/layout15.xml"/><Relationship Id="rId4" Type="http://schemas.openxmlformats.org/officeDocument/2006/relationships/diagramData" Target="../diagrams/data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7" Type="http://schemas.openxmlformats.org/officeDocument/2006/relationships/image" Target="../media/image35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jpeg"/><Relationship Id="rId5" Type="http://schemas.openxmlformats.org/officeDocument/2006/relationships/image" Target="../media/image30.jpeg"/><Relationship Id="rId4" Type="http://schemas.openxmlformats.org/officeDocument/2006/relationships/image" Target="../media/image26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jpeg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jpeg"/><Relationship Id="rId5" Type="http://schemas.openxmlformats.org/officeDocument/2006/relationships/image" Target="../media/image48.jpeg"/><Relationship Id="rId4" Type="http://schemas.openxmlformats.org/officeDocument/2006/relationships/image" Target="../media/image4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microsoft.com/office/2007/relationships/hdphoto" Target="../media/hdphoto3.wdp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7.png"/><Relationship Id="rId4" Type="http://schemas.openxmlformats.org/officeDocument/2006/relationships/tags" Target="../tags/tag4.xml"/><Relationship Id="rId9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7.png"/><Relationship Id="rId4" Type="http://schemas.openxmlformats.org/officeDocument/2006/relationships/tags" Target="../tags/tag7.xml"/><Relationship Id="rId9" Type="http://schemas.openxmlformats.org/officeDocument/2006/relationships/image" Target="../media/image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6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11" Type="http://schemas.openxmlformats.org/officeDocument/2006/relationships/image" Target="../media/image22.jpeg"/><Relationship Id="rId5" Type="http://schemas.openxmlformats.org/officeDocument/2006/relationships/image" Target="../media/image17.gif"/><Relationship Id="rId10" Type="http://schemas.openxmlformats.org/officeDocument/2006/relationships/image" Target="../media/image21.jpeg"/><Relationship Id="rId4" Type="http://schemas.microsoft.com/office/2007/relationships/hdphoto" Target="../media/hdphoto2.wdp"/><Relationship Id="rId9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5" name="32 Imagen" descr="MyComputer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49934" y="4087847"/>
            <a:ext cx="1837766" cy="1837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6" name="33 Imagen" descr="security (6)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49934" y="4313407"/>
            <a:ext cx="1044187" cy="104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4"/>
          <p:cNvSpPr txBox="1">
            <a:spLocks noChangeArrowheads="1"/>
          </p:cNvSpPr>
          <p:nvPr/>
        </p:nvSpPr>
        <p:spPr bwMode="auto">
          <a:xfrm>
            <a:off x="-457008" y="2121429"/>
            <a:ext cx="10037763" cy="124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j-ea"/>
                <a:cs typeface="+mj-cs"/>
              </a:rPr>
              <a:t>“Implantación de un Sistema de Gestión de </a:t>
            </a:r>
          </a:p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j-ea"/>
                <a:cs typeface="+mj-cs"/>
              </a:rPr>
              <a:t>Seguridad de la Información aplicada al dominio </a:t>
            </a:r>
          </a:p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j-ea"/>
                <a:cs typeface="+mj-cs"/>
              </a:rPr>
              <a:t>Gestión de Activos para la empresa</a:t>
            </a:r>
          </a:p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C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j-ea"/>
                <a:cs typeface="+mj-cs"/>
              </a:rPr>
              <a:t> Plásticos Internacionales</a:t>
            </a:r>
            <a:r>
              <a:rPr kumimoji="0" lang="es-EC" sz="3200" b="1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j-ea"/>
                <a:cs typeface="+mj-cs"/>
              </a:rPr>
              <a:t> </a:t>
            </a:r>
            <a:r>
              <a:rPr kumimoji="0" lang="es-EC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ea typeface="+mj-ea"/>
                <a:cs typeface="+mj-cs"/>
              </a:rPr>
              <a:t>Plasinca C.A.”</a:t>
            </a:r>
            <a:endParaRPr kumimoji="0" lang="de-DE" sz="32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70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5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7" descr="blue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/>
          <a:srcRect b="10303"/>
          <a:stretch>
            <a:fillRect/>
          </a:stretch>
        </p:blipFill>
        <p:spPr bwMode="auto">
          <a:xfrm>
            <a:off x="0" y="490599"/>
            <a:ext cx="9144000" cy="563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66725" y="2414588"/>
            <a:ext cx="8677275" cy="1448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s-EC" sz="4000" dirty="0" smtClean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alibri" pitchFamily="34" charset="0"/>
              </a:rPr>
              <a:t>Planeación del Sistema </a:t>
            </a:r>
            <a:r>
              <a:rPr lang="es-EC" sz="4000" dirty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alibri" pitchFamily="34" charset="0"/>
              </a:rPr>
              <a:t>de </a:t>
            </a:r>
            <a:r>
              <a:rPr lang="es-EC" sz="4000" dirty="0" smtClean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alibri" pitchFamily="34" charset="0"/>
              </a:rPr>
              <a:t>Gestión </a:t>
            </a:r>
            <a:r>
              <a:rPr lang="es-EC" sz="4000" dirty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alibri" pitchFamily="34" charset="0"/>
              </a:rPr>
              <a:t>de </a:t>
            </a:r>
            <a:r>
              <a:rPr lang="es-EC" sz="4000" dirty="0" smtClean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alibri" pitchFamily="34" charset="0"/>
              </a:rPr>
              <a:t>Seguridad </a:t>
            </a:r>
            <a:r>
              <a:rPr lang="es-EC" sz="4000" dirty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alibri" pitchFamily="34" charset="0"/>
              </a:rPr>
              <a:t>de la </a:t>
            </a:r>
            <a:r>
              <a:rPr lang="es-EC" sz="4000" dirty="0" smtClean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alibri" pitchFamily="34" charset="0"/>
              </a:rPr>
              <a:t>Información</a:t>
            </a:r>
            <a:endParaRPr lang="de-DE" sz="4000" b="1" dirty="0">
              <a:solidFill>
                <a:schemeClr val="bg1"/>
              </a:solidFill>
              <a:latin typeface="Calibri" pitchFamily="34" charset="0"/>
              <a:ea typeface="ＭＳ Ｐゴシック" pitchFamily="-49" charset="-128"/>
            </a:endParaRPr>
          </a:p>
        </p:txBody>
      </p:sp>
      <p:sp>
        <p:nvSpPr>
          <p:cNvPr id="9" name="8 CuadroTexto"/>
          <p:cNvSpPr txBox="1"/>
          <p:nvPr/>
        </p:nvSpPr>
        <p:spPr>
          <a:xfrm>
            <a:off x="4605338" y="6380163"/>
            <a:ext cx="4538662" cy="47783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EC" sz="2500" b="1" dirty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SGSI</a:t>
            </a:r>
            <a:r>
              <a:rPr lang="es-EC" sz="2500" b="1" dirty="0">
                <a:solidFill>
                  <a:schemeClr val="accent6">
                    <a:lumMod val="7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s-EC" sz="25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Calibri" pitchFamily="34" charset="0"/>
                <a:cs typeface="Calibri" pitchFamily="34" charset="0"/>
              </a:rPr>
              <a:t>Dominio gestión de activos</a:t>
            </a:r>
          </a:p>
        </p:txBody>
      </p:sp>
      <p:pic>
        <p:nvPicPr>
          <p:cNvPr id="2054" name="9 Imagen" descr="2110100046-331001.jpg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8FBFF"/>
              </a:clrFrom>
              <a:clrTo>
                <a:srgbClr val="F8FBFF">
                  <a:alpha val="0"/>
                </a:srgbClr>
              </a:clrTo>
            </a:clrChange>
          </a:blip>
          <a:srcRect l="3062" t="6410" r="3156" b="21388"/>
          <a:stretch>
            <a:fillRect/>
          </a:stretch>
        </p:blipFill>
        <p:spPr bwMode="auto">
          <a:xfrm>
            <a:off x="249238" y="6267450"/>
            <a:ext cx="1998662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26 Imagen" descr="unlock (7).png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166100" y="0"/>
            <a:ext cx="7493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-57150"/>
            <a:ext cx="4695825" cy="576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es-EC" sz="30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Capítulo II</a:t>
            </a:r>
            <a:endParaRPr lang="de-DE" sz="3000" b="1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02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304800" y="-9525"/>
            <a:ext cx="8515350" cy="600075"/>
          </a:xfrm>
        </p:spPr>
        <p:txBody>
          <a:bodyPr/>
          <a:lstStyle/>
          <a:p>
            <a:r>
              <a:rPr lang="es-ES" dirty="0" smtClean="0">
                <a:effectLst/>
              </a:rPr>
              <a:t> </a:t>
            </a:r>
            <a:r>
              <a:rPr lang="es-ES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Identificación </a:t>
            </a:r>
            <a:r>
              <a:rPr lang="es-ES" sz="30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de Activos</a:t>
            </a:r>
            <a:endParaRPr lang="es-EC" sz="30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n-ea"/>
              <a:cs typeface="Calibri" pitchFamily="34" charset="0"/>
            </a:endParaRPr>
          </a:p>
        </p:txBody>
      </p:sp>
      <p:graphicFrame>
        <p:nvGraphicFramePr>
          <p:cNvPr id="5" name="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0832718"/>
              </p:ext>
            </p:extLst>
          </p:nvPr>
        </p:nvGraphicFramePr>
        <p:xfrm>
          <a:off x="1771841" y="860374"/>
          <a:ext cx="5457633" cy="18617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33124"/>
                <a:gridCol w="1389563"/>
                <a:gridCol w="1176641"/>
                <a:gridCol w="2358305"/>
              </a:tblGrid>
              <a:tr h="20734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EC" sz="1400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NO.</a:t>
                      </a:r>
                      <a:endParaRPr lang="es-ES" sz="1400" dirty="0">
                        <a:effectLst/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EC" sz="1400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ACTIVO</a:t>
                      </a:r>
                      <a:endParaRPr lang="es-ES" sz="1400" dirty="0">
                        <a:effectLst/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EC" sz="1400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USUARIO</a:t>
                      </a:r>
                      <a:endParaRPr lang="es-ES" sz="1400" dirty="0">
                        <a:effectLst/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EC" sz="1400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FUNCIÓN</a:t>
                      </a:r>
                      <a:endParaRPr lang="es-ES" sz="1400" dirty="0">
                        <a:effectLst/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7425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EC" sz="1400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1</a:t>
                      </a:r>
                      <a:endParaRPr lang="es-ES" sz="1400" dirty="0">
                        <a:effectLst/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EC" sz="1200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WRKS-</a:t>
                      </a:r>
                      <a:r>
                        <a:rPr lang="es-EC" sz="1200" dirty="0" err="1">
                          <a:effectLst/>
                          <a:latin typeface="Calibri" pitchFamily="34" charset="0"/>
                          <a:cs typeface="Calibri" pitchFamily="34" charset="0"/>
                        </a:rPr>
                        <a:t>REC</a:t>
                      </a:r>
                      <a:r>
                        <a:rPr lang="es-EC" sz="1200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-001</a:t>
                      </a:r>
                      <a:endParaRPr lang="es-ES" sz="1200" dirty="0">
                        <a:effectLst/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EC" sz="1200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Jennifer Rodríguez</a:t>
                      </a:r>
                      <a:endParaRPr lang="es-ES" sz="1200" dirty="0">
                        <a:effectLst/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Symbol"/>
                        <a:buBlip>
                          <a:blip r:embed="rId3"/>
                        </a:buBlip>
                      </a:pPr>
                      <a:r>
                        <a:rPr lang="es-EC" sz="1200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Elabora </a:t>
                      </a:r>
                      <a:r>
                        <a:rPr lang="es-EC" sz="1200" dirty="0" smtClean="0">
                          <a:effectLst/>
                          <a:latin typeface="Calibri" pitchFamily="34" charset="0"/>
                          <a:cs typeface="Calibri" pitchFamily="34" charset="0"/>
                        </a:rPr>
                        <a:t>pedidos.</a:t>
                      </a: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Symbol"/>
                        <a:buBlip>
                          <a:blip r:embed="rId3"/>
                        </a:buBlip>
                      </a:pPr>
                      <a:r>
                        <a:rPr lang="es-EC" sz="1200" dirty="0" smtClean="0">
                          <a:effectLst/>
                          <a:latin typeface="Calibri" pitchFamily="34" charset="0"/>
                          <a:cs typeface="Calibri" pitchFamily="34" charset="0"/>
                        </a:rPr>
                        <a:t>Valida </a:t>
                      </a:r>
                      <a:r>
                        <a:rPr lang="es-EC" sz="1200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reportes.</a:t>
                      </a:r>
                      <a:endParaRPr lang="es-ES" sz="1200" dirty="0">
                        <a:effectLst/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7409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EC" sz="1400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2</a:t>
                      </a:r>
                      <a:endParaRPr lang="es-ES" sz="1400" dirty="0">
                        <a:effectLst/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EC" sz="1200">
                          <a:effectLst/>
                          <a:latin typeface="Calibri" pitchFamily="34" charset="0"/>
                          <a:cs typeface="Calibri" pitchFamily="34" charset="0"/>
                        </a:rPr>
                        <a:t>WRKS-REC-002</a:t>
                      </a:r>
                      <a:endParaRPr lang="es-ES" sz="1200">
                        <a:effectLst/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s-EC" sz="1200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Mabel Arévalo</a:t>
                      </a:r>
                      <a:endParaRPr lang="es-ES" sz="1200" dirty="0">
                        <a:effectLst/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Symbol"/>
                        <a:buBlip>
                          <a:blip r:embed="rId3"/>
                        </a:buBlip>
                      </a:pPr>
                      <a:r>
                        <a:rPr lang="es-EC" sz="1200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Control de </a:t>
                      </a:r>
                      <a:r>
                        <a:rPr lang="es-EC" sz="1200" dirty="0" smtClean="0">
                          <a:effectLst/>
                          <a:latin typeface="Calibri" pitchFamily="34" charset="0"/>
                          <a:cs typeface="Calibri" pitchFamily="34" charset="0"/>
                        </a:rPr>
                        <a:t>despachos.</a:t>
                      </a: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Symbol"/>
                        <a:buBlip>
                          <a:blip r:embed="rId3"/>
                        </a:buBlip>
                      </a:pPr>
                      <a:r>
                        <a:rPr lang="es-EC" sz="1200" dirty="0" smtClean="0">
                          <a:effectLst/>
                          <a:latin typeface="Calibri" pitchFamily="34" charset="0"/>
                          <a:cs typeface="Calibri" pitchFamily="34" charset="0"/>
                        </a:rPr>
                        <a:t>Control </a:t>
                      </a:r>
                      <a:r>
                        <a:rPr lang="es-EC" sz="1200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de órdenes de Pedido.</a:t>
                      </a:r>
                      <a:endParaRPr lang="es-ES" sz="1200" dirty="0"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Symbol"/>
                        <a:buBlip>
                          <a:blip r:embed="rId3"/>
                        </a:buBlip>
                      </a:pPr>
                      <a:r>
                        <a:rPr lang="es-EC" sz="1200" dirty="0">
                          <a:effectLst/>
                          <a:latin typeface="Calibri" pitchFamily="34" charset="0"/>
                          <a:cs typeface="Calibri" pitchFamily="34" charset="0"/>
                        </a:rPr>
                        <a:t>Cálculos de precio de pedido.</a:t>
                      </a:r>
                      <a:endParaRPr lang="es-ES" sz="1200" dirty="0">
                        <a:effectLst/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6" name="5 Rectángulo"/>
          <p:cNvSpPr/>
          <p:nvPr/>
        </p:nvSpPr>
        <p:spPr>
          <a:xfrm>
            <a:off x="1229349" y="3647835"/>
            <a:ext cx="208711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C" sz="2400" b="1" dirty="0">
                <a:latin typeface="Calibri" pitchFamily="34" charset="0"/>
                <a:cs typeface="Calibri" pitchFamily="34" charset="0"/>
              </a:rPr>
              <a:t>WRKS-</a:t>
            </a:r>
            <a:r>
              <a:rPr lang="es-EC" sz="2400" b="1" dirty="0" err="1">
                <a:latin typeface="Calibri" pitchFamily="34" charset="0"/>
                <a:cs typeface="Calibri" pitchFamily="34" charset="0"/>
              </a:rPr>
              <a:t>REC</a:t>
            </a:r>
            <a:r>
              <a:rPr lang="es-EC" sz="2400" b="1" dirty="0">
                <a:latin typeface="Calibri" pitchFamily="34" charset="0"/>
                <a:cs typeface="Calibri" pitchFamily="34" charset="0"/>
              </a:rPr>
              <a:t>-001</a:t>
            </a:r>
            <a:endParaRPr lang="es-ES" sz="24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6771800" y="2722087"/>
            <a:ext cx="48603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dirty="0" smtClean="0">
                <a:latin typeface="Calibri" pitchFamily="34" charset="0"/>
                <a:cs typeface="Calibri" pitchFamily="34" charset="0"/>
              </a:rPr>
              <a:t>Pág. 21</a:t>
            </a:r>
            <a:endParaRPr lang="es-ES" sz="8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7 Rectángulo"/>
          <p:cNvSpPr/>
          <p:nvPr/>
        </p:nvSpPr>
        <p:spPr>
          <a:xfrm>
            <a:off x="5108170" y="3586840"/>
            <a:ext cx="302871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C" sz="24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itchFamily="34" charset="0"/>
                <a:cs typeface="Calibri" pitchFamily="34" charset="0"/>
              </a:rPr>
              <a:t>Agrupación de Activos</a:t>
            </a:r>
            <a:endParaRPr lang="es-ES" sz="24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5406089" y="4048505"/>
            <a:ext cx="300979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Clr>
                <a:schemeClr val="accent1"/>
              </a:buClr>
              <a:buFont typeface="Arial" pitchFamily="34" charset="0"/>
              <a:buChar char="›"/>
            </a:pPr>
            <a:r>
              <a:rPr lang="es-EC" dirty="0"/>
              <a:t>PC / Laptop</a:t>
            </a:r>
            <a:endParaRPr lang="es-ES" dirty="0"/>
          </a:p>
          <a:p>
            <a:pPr marL="285750" lvl="0" indent="-285750">
              <a:buClr>
                <a:schemeClr val="accent1"/>
              </a:buClr>
              <a:buFont typeface="Arial" pitchFamily="34" charset="0"/>
              <a:buChar char="›"/>
            </a:pPr>
            <a:r>
              <a:rPr lang="es-EC" dirty="0"/>
              <a:t>Servidores</a:t>
            </a:r>
            <a:endParaRPr lang="es-ES" dirty="0"/>
          </a:p>
          <a:p>
            <a:pPr marL="285750" lvl="0" indent="-285750">
              <a:buClr>
                <a:schemeClr val="accent1"/>
              </a:buClr>
              <a:buFont typeface="Arial" pitchFamily="34" charset="0"/>
              <a:buChar char="›"/>
            </a:pPr>
            <a:r>
              <a:rPr lang="es-EC" dirty="0"/>
              <a:t>Información / Datos </a:t>
            </a:r>
            <a:endParaRPr lang="es-ES" dirty="0"/>
          </a:p>
          <a:p>
            <a:pPr marL="285750" lvl="0" indent="-285750">
              <a:buClr>
                <a:schemeClr val="accent1"/>
              </a:buClr>
              <a:buFont typeface="Arial" pitchFamily="34" charset="0"/>
              <a:buChar char="›"/>
            </a:pPr>
            <a:r>
              <a:rPr lang="es-EC" dirty="0" smtClean="0"/>
              <a:t>Aplicaciones (Software</a:t>
            </a:r>
            <a:r>
              <a:rPr lang="es-EC" dirty="0"/>
              <a:t>)</a:t>
            </a:r>
            <a:endParaRPr lang="es-ES" dirty="0"/>
          </a:p>
        </p:txBody>
      </p:sp>
      <p:sp>
        <p:nvSpPr>
          <p:cNvPr id="41" name="40 Flecha doblada hacia arriba"/>
          <p:cNvSpPr/>
          <p:nvPr/>
        </p:nvSpPr>
        <p:spPr bwMode="auto">
          <a:xfrm rot="5400000">
            <a:off x="1903403" y="3842930"/>
            <a:ext cx="1217121" cy="1705821"/>
          </a:xfrm>
          <a:prstGeom prst="bentUpArrow">
            <a:avLst>
              <a:gd name="adj1" fmla="val 4617"/>
              <a:gd name="adj2" fmla="val 4986"/>
              <a:gd name="adj3" fmla="val 6714"/>
            </a:avLst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2" name="41 CuadroTexto"/>
          <p:cNvSpPr txBox="1"/>
          <p:nvPr/>
        </p:nvSpPr>
        <p:spPr>
          <a:xfrm>
            <a:off x="3473989" y="4364045"/>
            <a:ext cx="12891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600" dirty="0" smtClean="0"/>
              <a:t>Numeración</a:t>
            </a:r>
            <a:endParaRPr lang="es-ES" sz="1600" dirty="0"/>
          </a:p>
        </p:txBody>
      </p:sp>
      <p:sp>
        <p:nvSpPr>
          <p:cNvPr id="43" name="42 CuadroTexto"/>
          <p:cNvSpPr txBox="1"/>
          <p:nvPr/>
        </p:nvSpPr>
        <p:spPr>
          <a:xfrm>
            <a:off x="3473989" y="4721953"/>
            <a:ext cx="6174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600" dirty="0" smtClean="0"/>
              <a:t>Área</a:t>
            </a:r>
            <a:endParaRPr lang="es-ES" sz="1600" dirty="0"/>
          </a:p>
        </p:txBody>
      </p:sp>
      <p:sp>
        <p:nvSpPr>
          <p:cNvPr id="44" name="43 CuadroTexto"/>
          <p:cNvSpPr txBox="1"/>
          <p:nvPr/>
        </p:nvSpPr>
        <p:spPr>
          <a:xfrm>
            <a:off x="3473989" y="5089082"/>
            <a:ext cx="11787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600" dirty="0" smtClean="0"/>
              <a:t>Tipo Activo</a:t>
            </a:r>
            <a:endParaRPr lang="es-ES" sz="1600" dirty="0"/>
          </a:p>
        </p:txBody>
      </p:sp>
      <p:sp>
        <p:nvSpPr>
          <p:cNvPr id="45" name="44 Flecha doblada hacia arriba"/>
          <p:cNvSpPr/>
          <p:nvPr/>
        </p:nvSpPr>
        <p:spPr bwMode="auto">
          <a:xfrm rot="5400000">
            <a:off x="2400433" y="4001404"/>
            <a:ext cx="897060" cy="1031826"/>
          </a:xfrm>
          <a:prstGeom prst="bentUpArrow">
            <a:avLst>
              <a:gd name="adj1" fmla="val 4617"/>
              <a:gd name="adj2" fmla="val 7943"/>
              <a:gd name="adj3" fmla="val 10503"/>
            </a:avLst>
          </a:prstGeom>
          <a:ln w="3175">
            <a:noFill/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6" name="45 Flecha doblada hacia arriba"/>
          <p:cNvSpPr/>
          <p:nvPr/>
        </p:nvSpPr>
        <p:spPr bwMode="auto">
          <a:xfrm rot="5400000">
            <a:off x="2885974" y="4133340"/>
            <a:ext cx="543455" cy="414349"/>
          </a:xfrm>
          <a:prstGeom prst="bentUpArrow">
            <a:avLst>
              <a:gd name="adj1" fmla="val 8448"/>
              <a:gd name="adj2" fmla="val 16792"/>
              <a:gd name="adj3" fmla="val 21073"/>
            </a:avLst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4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4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4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2" dur="250" autoRev="1" fill="remove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3" dur="250" autoRev="1" fill="remove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4" dur="250" autoRev="1" fill="remove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" dur="250" autoRev="1" fill="remove"/>
                                        <p:tgtEl>
                                          <p:spTgt spid="4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250" autoRev="1" fill="remove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9" dur="250" autoRev="1" fill="remove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0" dur="250" autoRev="1" fill="remove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250" autoRev="1" fill="remove"/>
                                        <p:tgtEl>
                                          <p:spTgt spid="4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45" grpId="0" animBg="1"/>
      <p:bldP spid="4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7 Gráfico"/>
          <p:cNvGraphicFramePr/>
          <p:nvPr>
            <p:extLst>
              <p:ext uri="{D42A27DB-BD31-4B8C-83A1-F6EECF244321}">
                <p14:modId xmlns:p14="http://schemas.microsoft.com/office/powerpoint/2010/main" val="1503297236"/>
              </p:ext>
            </p:extLst>
          </p:nvPr>
        </p:nvGraphicFramePr>
        <p:xfrm>
          <a:off x="891882" y="653049"/>
          <a:ext cx="7274606" cy="4173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4625" y="0"/>
            <a:ext cx="8515350" cy="600075"/>
          </a:xfrm>
        </p:spPr>
        <p:txBody>
          <a:bodyPr/>
          <a:lstStyle/>
          <a:p>
            <a:pPr lvl="2"/>
            <a:r>
              <a:rPr lang="es-EC" sz="3000" i="1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+mn-ea"/>
                <a:cs typeface="Calibri" pitchFamily="34" charset="0"/>
              </a:rPr>
              <a:t>Valoración de Activos</a:t>
            </a:r>
            <a:r>
              <a:rPr lang="es-ES" sz="3000" i="1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+mn-ea"/>
                <a:cs typeface="Calibri" pitchFamily="34" charset="0"/>
              </a:rPr>
              <a:t/>
            </a:r>
            <a:br>
              <a:rPr lang="es-ES" sz="3000" i="1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+mn-ea"/>
                <a:cs typeface="Calibri" pitchFamily="34" charset="0"/>
              </a:rPr>
            </a:br>
            <a:endParaRPr lang="es-ES" sz="3000" i="1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+mn-ea"/>
              <a:cs typeface="Calibri" pitchFamily="34" charset="0"/>
            </a:endParaRPr>
          </a:p>
        </p:txBody>
      </p:sp>
      <p:graphicFrame>
        <p:nvGraphicFramePr>
          <p:cNvPr id="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6339025"/>
              </p:ext>
            </p:extLst>
          </p:nvPr>
        </p:nvGraphicFramePr>
        <p:xfrm>
          <a:off x="6486354" y="4674399"/>
          <a:ext cx="1876469" cy="130932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80212"/>
                <a:gridCol w="1096257"/>
              </a:tblGrid>
              <a:tr h="163521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 smtClean="0">
                          <a:solidFill>
                            <a:schemeClr val="bg1"/>
                          </a:solidFill>
                          <a:effectLst/>
                        </a:rPr>
                        <a:t>VALOR</a:t>
                      </a:r>
                      <a:endParaRPr lang="es-ES" sz="1200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22217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es-E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5E4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chemeClr val="tx1"/>
                          </a:solidFill>
                          <a:effectLst/>
                        </a:rPr>
                        <a:t>Muy alto</a:t>
                      </a:r>
                      <a:endParaRPr lang="es-E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15E41"/>
                    </a:solidFill>
                  </a:tcPr>
                </a:tc>
              </a:tr>
              <a:tr h="22217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chemeClr val="tx1"/>
                          </a:solidFill>
                          <a:effectLst/>
                        </a:rPr>
                        <a:t>7 a 9</a:t>
                      </a:r>
                      <a:endParaRPr lang="es-E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chemeClr val="tx1"/>
                          </a:solidFill>
                          <a:effectLst/>
                        </a:rPr>
                        <a:t>Alto</a:t>
                      </a:r>
                      <a:endParaRPr lang="es-E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9933"/>
                    </a:solidFill>
                  </a:tcPr>
                </a:tc>
              </a:tr>
              <a:tr h="22217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chemeClr val="tx1"/>
                          </a:solidFill>
                          <a:effectLst/>
                        </a:rPr>
                        <a:t>4 a 6</a:t>
                      </a:r>
                      <a:endParaRPr lang="es-E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chemeClr val="tx1"/>
                          </a:solidFill>
                          <a:effectLst/>
                        </a:rPr>
                        <a:t>Medio</a:t>
                      </a:r>
                      <a:endParaRPr lang="es-E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66"/>
                    </a:solidFill>
                  </a:tcPr>
                </a:tc>
              </a:tr>
              <a:tr h="22217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chemeClr val="tx1"/>
                          </a:solidFill>
                          <a:effectLst/>
                        </a:rPr>
                        <a:t>1 a 3</a:t>
                      </a:r>
                      <a:endParaRPr lang="es-E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chemeClr val="tx1"/>
                          </a:solidFill>
                          <a:effectLst/>
                        </a:rPr>
                        <a:t>Bajo</a:t>
                      </a:r>
                      <a:endParaRPr lang="es-E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</a:tr>
              <a:tr h="16352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es-E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E39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ES" sz="1200" dirty="0">
                          <a:solidFill>
                            <a:schemeClr val="tx1"/>
                          </a:solidFill>
                          <a:effectLst/>
                        </a:rPr>
                        <a:t>Ninguno</a:t>
                      </a:r>
                      <a:endParaRPr lang="es-E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E395"/>
                    </a:solidFill>
                  </a:tcPr>
                </a:tc>
              </a:tr>
            </a:tbl>
          </a:graphicData>
        </a:graphic>
      </p:graphicFrame>
      <p:sp>
        <p:nvSpPr>
          <p:cNvPr id="5" name="4 CuadroTexto"/>
          <p:cNvSpPr txBox="1"/>
          <p:nvPr/>
        </p:nvSpPr>
        <p:spPr>
          <a:xfrm>
            <a:off x="7847330" y="5953886"/>
            <a:ext cx="6094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dirty="0" smtClean="0"/>
              <a:t>(Pág. 32)</a:t>
            </a:r>
            <a:endParaRPr lang="es-ES" sz="800" dirty="0"/>
          </a:p>
        </p:txBody>
      </p:sp>
      <p:grpSp>
        <p:nvGrpSpPr>
          <p:cNvPr id="6" name="5 Grupo"/>
          <p:cNvGrpSpPr/>
          <p:nvPr/>
        </p:nvGrpSpPr>
        <p:grpSpPr>
          <a:xfrm>
            <a:off x="-27296" y="4457514"/>
            <a:ext cx="2259508" cy="1724924"/>
            <a:chOff x="0" y="4334682"/>
            <a:chExt cx="1683544" cy="1385256"/>
          </a:xfrm>
        </p:grpSpPr>
        <p:graphicFrame>
          <p:nvGraphicFramePr>
            <p:cNvPr id="21" name="20 Diagrama"/>
            <p:cNvGraphicFramePr/>
            <p:nvPr>
              <p:extLst>
                <p:ext uri="{D42A27DB-BD31-4B8C-83A1-F6EECF244321}">
                  <p14:modId xmlns:p14="http://schemas.microsoft.com/office/powerpoint/2010/main" val="305414835"/>
                </p:ext>
              </p:extLst>
            </p:nvPr>
          </p:nvGraphicFramePr>
          <p:xfrm>
            <a:off x="0" y="4334682"/>
            <a:ext cx="1683544" cy="138525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  <p:grpSp>
          <p:nvGrpSpPr>
            <p:cNvPr id="28" name="27 Grupo"/>
            <p:cNvGrpSpPr/>
            <p:nvPr/>
          </p:nvGrpSpPr>
          <p:grpSpPr>
            <a:xfrm>
              <a:off x="71761" y="4454056"/>
              <a:ext cx="433664" cy="1199443"/>
              <a:chOff x="50449" y="816894"/>
              <a:chExt cx="433664" cy="1199443"/>
            </a:xfrm>
          </p:grpSpPr>
          <p:sp>
            <p:nvSpPr>
              <p:cNvPr id="22" name="21 CuadroTexto"/>
              <p:cNvSpPr txBox="1"/>
              <p:nvPr/>
            </p:nvSpPr>
            <p:spPr>
              <a:xfrm>
                <a:off x="79584" y="816894"/>
                <a:ext cx="24878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" b="1" dirty="0" smtClean="0">
                    <a:latin typeface="Calibri" pitchFamily="34" charset="0"/>
                    <a:cs typeface="Calibri" pitchFamily="34" charset="0"/>
                  </a:rPr>
                  <a:t>I</a:t>
                </a:r>
                <a:endParaRPr lang="es-ES" b="1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3" name="22 CuadroTexto"/>
              <p:cNvSpPr txBox="1"/>
              <p:nvPr/>
            </p:nvSpPr>
            <p:spPr>
              <a:xfrm>
                <a:off x="153573" y="1244811"/>
                <a:ext cx="33054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" b="1" dirty="0" smtClean="0">
                    <a:latin typeface="Calibri" pitchFamily="34" charset="0"/>
                    <a:cs typeface="Calibri" pitchFamily="34" charset="0"/>
                  </a:rPr>
                  <a:t>D</a:t>
                </a:r>
                <a:endParaRPr lang="es-ES" b="1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24" name="23 CuadroTexto"/>
              <p:cNvSpPr txBox="1"/>
              <p:nvPr/>
            </p:nvSpPr>
            <p:spPr>
              <a:xfrm>
                <a:off x="50449" y="1647005"/>
                <a:ext cx="30649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" b="1" dirty="0" smtClean="0">
                    <a:latin typeface="Calibri" pitchFamily="34" charset="0"/>
                    <a:cs typeface="Calibri" pitchFamily="34" charset="0"/>
                  </a:rPr>
                  <a:t>C</a:t>
                </a:r>
                <a:endParaRPr lang="es-ES" b="1" dirty="0">
                  <a:latin typeface="Calibri" pitchFamily="34" charset="0"/>
                  <a:cs typeface="Calibri" pitchFamily="34" charset="0"/>
                </a:endParaRPr>
              </a:p>
            </p:txBody>
          </p:sp>
        </p:grpSp>
      </p:grpSp>
      <p:graphicFrame>
        <p:nvGraphicFramePr>
          <p:cNvPr id="3" name="2 Diagrama"/>
          <p:cNvGraphicFramePr/>
          <p:nvPr>
            <p:extLst>
              <p:ext uri="{D42A27DB-BD31-4B8C-83A1-F6EECF244321}">
                <p14:modId xmlns:p14="http://schemas.microsoft.com/office/powerpoint/2010/main" val="1968363731"/>
              </p:ext>
            </p:extLst>
          </p:nvPr>
        </p:nvGraphicFramePr>
        <p:xfrm>
          <a:off x="3234520" y="4688734"/>
          <a:ext cx="2302412" cy="12785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3" name="12 Rectángulo"/>
          <p:cNvSpPr/>
          <p:nvPr/>
        </p:nvSpPr>
        <p:spPr>
          <a:xfrm>
            <a:off x="56324" y="4107067"/>
            <a:ext cx="27841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itchFamily="34" charset="0"/>
                <a:cs typeface="Calibri" pitchFamily="34" charset="0"/>
              </a:rPr>
              <a:t>Dimensiones de Valoración</a:t>
            </a:r>
            <a:endParaRPr lang="es-ES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13 Rectángulo"/>
          <p:cNvSpPr/>
          <p:nvPr/>
        </p:nvSpPr>
        <p:spPr>
          <a:xfrm>
            <a:off x="6214605" y="4106590"/>
            <a:ext cx="27841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C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itchFamily="34" charset="0"/>
                <a:cs typeface="Calibri" pitchFamily="34" charset="0"/>
              </a:rPr>
              <a:t>Criterios de Valoración</a:t>
            </a:r>
            <a:endParaRPr lang="es-ES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785147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0" dur="250" autoRev="1" fill="remove"/>
                                        <p:tgtEl>
                                          <p:spTgt spid="3">
                                            <p:graphicEl>
                                              <a:dgm id="{7FB7F542-D7EC-43C8-9C12-1F977E2548E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1" dur="250" autoRev="1" fill="remove"/>
                                        <p:tgtEl>
                                          <p:spTgt spid="3">
                                            <p:graphicEl>
                                              <a:dgm id="{7FB7F542-D7EC-43C8-9C12-1F977E2548EB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2" dur="250" autoRev="1" fill="remove"/>
                                        <p:tgtEl>
                                          <p:spTgt spid="3">
                                            <p:graphicEl>
                                              <a:dgm id="{7FB7F542-D7EC-43C8-9C12-1F977E2548EB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" dur="250" autoRev="1" fill="remove"/>
                                        <p:tgtEl>
                                          <p:spTgt spid="3">
                                            <p:graphicEl>
                                              <a:dgm id="{7FB7F542-D7EC-43C8-9C12-1F977E2548EB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6" dur="250" autoRev="1" fill="remove"/>
                                        <p:tgtEl>
                                          <p:spTgt spid="3">
                                            <p:graphicEl>
                                              <a:dgm id="{48F58790-EC7A-42D9-9661-6283CED3B3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7" dur="250" autoRev="1" fill="remove"/>
                                        <p:tgtEl>
                                          <p:spTgt spid="3">
                                            <p:graphicEl>
                                              <a:dgm id="{48F58790-EC7A-42D9-9661-6283CED3B3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8" dur="250" autoRev="1" fill="remove"/>
                                        <p:tgtEl>
                                          <p:spTgt spid="3">
                                            <p:graphicEl>
                                              <a:dgm id="{48F58790-EC7A-42D9-9661-6283CED3B3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9" dur="250" autoRev="1" fill="remove"/>
                                        <p:tgtEl>
                                          <p:spTgt spid="3">
                                            <p:graphicEl>
                                              <a:dgm id="{48F58790-EC7A-42D9-9661-6283CED3B395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250" autoRev="1" fill="remove"/>
                                        <p:tgtEl>
                                          <p:spTgt spid="3">
                                            <p:graphicEl>
                                              <a:dgm id="{8DC018C4-0C8B-468E-9A08-570F5B9B0CA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3" dur="250" autoRev="1" fill="remove"/>
                                        <p:tgtEl>
                                          <p:spTgt spid="3">
                                            <p:graphicEl>
                                              <a:dgm id="{8DC018C4-0C8B-468E-9A08-570F5B9B0CA6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4" dur="250" autoRev="1" fill="remove"/>
                                        <p:tgtEl>
                                          <p:spTgt spid="3">
                                            <p:graphicEl>
                                              <a:dgm id="{8DC018C4-0C8B-468E-9A08-570F5B9B0CA6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250" autoRev="1" fill="remove"/>
                                        <p:tgtEl>
                                          <p:spTgt spid="3">
                                            <p:graphicEl>
                                              <a:dgm id="{8DC018C4-0C8B-468E-9A08-570F5B9B0CA6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8" dur="250" autoRev="1" fill="remove"/>
                                        <p:tgtEl>
                                          <p:spTgt spid="3">
                                            <p:graphicEl>
                                              <a:dgm id="{80811653-E66D-4851-9EE3-DF71E24B35A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9" dur="250" autoRev="1" fill="remove"/>
                                        <p:tgtEl>
                                          <p:spTgt spid="3">
                                            <p:graphicEl>
                                              <a:dgm id="{80811653-E66D-4851-9EE3-DF71E24B35A2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0" dur="250" autoRev="1" fill="remove"/>
                                        <p:tgtEl>
                                          <p:spTgt spid="3">
                                            <p:graphicEl>
                                              <a:dgm id="{80811653-E66D-4851-9EE3-DF71E24B35A2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1" dur="250" autoRev="1" fill="remove"/>
                                        <p:tgtEl>
                                          <p:spTgt spid="3">
                                            <p:graphicEl>
                                              <a:dgm id="{80811653-E66D-4851-9EE3-DF71E24B35A2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4" dur="250" autoRev="1" fill="remove"/>
                                        <p:tgtEl>
                                          <p:spTgt spid="3">
                                            <p:graphicEl>
                                              <a:dgm id="{61B153DF-D8FA-4227-A957-1C31D2FB867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5" dur="250" autoRev="1" fill="remove"/>
                                        <p:tgtEl>
                                          <p:spTgt spid="3">
                                            <p:graphicEl>
                                              <a:dgm id="{61B153DF-D8FA-4227-A957-1C31D2FB8672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6" dur="250" autoRev="1" fill="remove"/>
                                        <p:tgtEl>
                                          <p:spTgt spid="3">
                                            <p:graphicEl>
                                              <a:dgm id="{61B153DF-D8FA-4227-A957-1C31D2FB8672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7" dur="250" autoRev="1" fill="remove"/>
                                        <p:tgtEl>
                                          <p:spTgt spid="3">
                                            <p:graphicEl>
                                              <a:dgm id="{61B153DF-D8FA-4227-A957-1C31D2FB8672}"/>
                                            </p:graphic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1" dur="25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Dgm/>
        </p:bldSub>
      </p:bldGraphic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17 Diagrama"/>
          <p:cNvGraphicFramePr/>
          <p:nvPr>
            <p:extLst>
              <p:ext uri="{D42A27DB-BD31-4B8C-83A1-F6EECF244321}">
                <p14:modId xmlns:p14="http://schemas.microsoft.com/office/powerpoint/2010/main" val="1678860898"/>
              </p:ext>
            </p:extLst>
          </p:nvPr>
        </p:nvGraphicFramePr>
        <p:xfrm>
          <a:off x="511780" y="3338071"/>
          <a:ext cx="8308372" cy="24340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5" name="14 Diagrama"/>
          <p:cNvGraphicFramePr/>
          <p:nvPr>
            <p:extLst>
              <p:ext uri="{D42A27DB-BD31-4B8C-83A1-F6EECF244321}">
                <p14:modId xmlns:p14="http://schemas.microsoft.com/office/powerpoint/2010/main" val="3908398709"/>
              </p:ext>
            </p:extLst>
          </p:nvPr>
        </p:nvGraphicFramePr>
        <p:xfrm>
          <a:off x="492729" y="1016451"/>
          <a:ext cx="8308371" cy="22601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84023" y="-58778"/>
            <a:ext cx="8515350" cy="600075"/>
          </a:xfrm>
        </p:spPr>
        <p:txBody>
          <a:bodyPr/>
          <a:lstStyle/>
          <a:p>
            <a:r>
              <a:rPr lang="es-EC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Identificar Amenazas y Vulnerabilidades</a:t>
            </a:r>
            <a:endParaRPr lang="es-ES" sz="30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n-ea"/>
              <a:cs typeface="Calibri" pitchFamily="34" charset="0"/>
            </a:endParaRPr>
          </a:p>
        </p:txBody>
      </p:sp>
      <p:pic>
        <p:nvPicPr>
          <p:cNvPr id="7" name="6 Imagen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043269">
            <a:off x="7118145" y="-64927"/>
            <a:ext cx="978794" cy="97879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8 Imagen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190170"/>
            <a:ext cx="1141858" cy="81523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10 Imagen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0521" y="2440325"/>
            <a:ext cx="878109" cy="74984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20 Imagen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38" y="877191"/>
            <a:ext cx="1056720" cy="78973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9 CuadroTexto"/>
          <p:cNvSpPr txBox="1"/>
          <p:nvPr/>
        </p:nvSpPr>
        <p:spPr>
          <a:xfrm>
            <a:off x="8147821" y="5598286"/>
            <a:ext cx="6094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dirty="0" smtClean="0"/>
              <a:t>(Pág. 33)</a:t>
            </a:r>
            <a:endParaRPr lang="es-ES" sz="800" dirty="0"/>
          </a:p>
        </p:txBody>
      </p:sp>
    </p:spTree>
    <p:extLst>
      <p:ext uri="{BB962C8B-B14F-4D97-AF65-F5344CB8AC3E}">
        <p14:creationId xmlns:p14="http://schemas.microsoft.com/office/powerpoint/2010/main" val="4185117940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val="460472551"/>
              </p:ext>
            </p:extLst>
          </p:nvPr>
        </p:nvGraphicFramePr>
        <p:xfrm>
          <a:off x="609600" y="766004"/>
          <a:ext cx="7905750" cy="24153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7 Diagrama"/>
          <p:cNvGraphicFramePr/>
          <p:nvPr>
            <p:extLst>
              <p:ext uri="{D42A27DB-BD31-4B8C-83A1-F6EECF244321}">
                <p14:modId xmlns:p14="http://schemas.microsoft.com/office/powerpoint/2010/main" val="2117138670"/>
              </p:ext>
            </p:extLst>
          </p:nvPr>
        </p:nvGraphicFramePr>
        <p:xfrm>
          <a:off x="628650" y="3147254"/>
          <a:ext cx="7905750" cy="29085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2" name="1 Imagen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9528" y="500062"/>
            <a:ext cx="1613022" cy="121443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9 Imagen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350" y="2990850"/>
            <a:ext cx="1110495" cy="86937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212725" y="0"/>
            <a:ext cx="8515350" cy="600075"/>
          </a:xfrm>
        </p:spPr>
        <p:txBody>
          <a:bodyPr/>
          <a:lstStyle/>
          <a:p>
            <a:r>
              <a:rPr lang="es-EC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Identificar Amenazas y Vulnerabilidades</a:t>
            </a:r>
            <a:endParaRPr lang="es-ES" sz="30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n-ea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219016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3200" cap="all" dirty="0">
                <a:effectLst/>
              </a:rPr>
              <a:t> </a:t>
            </a:r>
            <a:r>
              <a:rPr lang="es-ES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Identificar Impactos</a:t>
            </a:r>
            <a:br>
              <a:rPr lang="es-ES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</a:br>
            <a:endParaRPr lang="es-ES" sz="30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n-ea"/>
              <a:cs typeface="Calibri" pitchFamily="34" charset="0"/>
            </a:endParaRPr>
          </a:p>
        </p:txBody>
      </p:sp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val="1746569503"/>
              </p:ext>
            </p:extLst>
          </p:nvPr>
        </p:nvGraphicFramePr>
        <p:xfrm>
          <a:off x="116500" y="735247"/>
          <a:ext cx="4359965" cy="25032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06533"/>
              </p:ext>
            </p:extLst>
          </p:nvPr>
        </p:nvGraphicFramePr>
        <p:xfrm>
          <a:off x="2060811" y="3544529"/>
          <a:ext cx="5131558" cy="24917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1128"/>
                <a:gridCol w="3780430"/>
              </a:tblGrid>
              <a:tr h="274343">
                <a:tc>
                  <a:txBody>
                    <a:bodyPr/>
                    <a:lstStyle/>
                    <a:p>
                      <a:pPr algn="ctr"/>
                      <a:r>
                        <a:rPr lang="es-ES" sz="1500" dirty="0" smtClean="0">
                          <a:latin typeface="Calibri" pitchFamily="34" charset="0"/>
                          <a:cs typeface="Calibri" pitchFamily="34" charset="0"/>
                        </a:rPr>
                        <a:t>Nomenclatura</a:t>
                      </a:r>
                      <a:endParaRPr lang="es-ES" sz="15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500" dirty="0" smtClean="0">
                          <a:latin typeface="Calibri" pitchFamily="34" charset="0"/>
                          <a:cs typeface="Calibri" pitchFamily="34" charset="0"/>
                        </a:rPr>
                        <a:t>Descripción</a:t>
                      </a:r>
                      <a:endParaRPr lang="es-ES" sz="15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/>
                </a:tc>
              </a:tr>
              <a:tr h="27434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1500" b="1" dirty="0" smtClean="0">
                          <a:latin typeface="Calibri" pitchFamily="34" charset="0"/>
                          <a:cs typeface="Calibri" pitchFamily="34" charset="0"/>
                        </a:rPr>
                        <a:t>C1</a:t>
                      </a:r>
                      <a:endParaRPr lang="es-ES" sz="1500" b="1" dirty="0" smtClean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1500" dirty="0" smtClean="0">
                          <a:latin typeface="Calibri" pitchFamily="34" charset="0"/>
                          <a:cs typeface="Calibri" pitchFamily="34" charset="0"/>
                        </a:rPr>
                        <a:t>Pérdidas Económicas </a:t>
                      </a:r>
                      <a:endParaRPr lang="es-ES" sz="1500" dirty="0" smtClean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/>
                </a:tc>
              </a:tr>
              <a:tr h="274343">
                <a:tc>
                  <a:txBody>
                    <a:bodyPr/>
                    <a:lstStyle/>
                    <a:p>
                      <a:pPr algn="ctr"/>
                      <a:r>
                        <a:rPr lang="es-ES" sz="1500" b="1" dirty="0" smtClean="0">
                          <a:latin typeface="Calibri" pitchFamily="34" charset="0"/>
                          <a:cs typeface="Calibri" pitchFamily="34" charset="0"/>
                        </a:rPr>
                        <a:t>C2</a:t>
                      </a:r>
                      <a:endParaRPr lang="es-ES" sz="15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1500" dirty="0" smtClean="0">
                          <a:latin typeface="Calibri" pitchFamily="34" charset="0"/>
                          <a:cs typeface="Calibri" pitchFamily="34" charset="0"/>
                        </a:rPr>
                        <a:t>Pérdidas Inmateriales </a:t>
                      </a:r>
                      <a:endParaRPr lang="es-ES" sz="1500" dirty="0" smtClean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/>
                </a:tc>
              </a:tr>
              <a:tr h="480101">
                <a:tc>
                  <a:txBody>
                    <a:bodyPr/>
                    <a:lstStyle/>
                    <a:p>
                      <a:pPr algn="ctr"/>
                      <a:r>
                        <a:rPr lang="es-ES" sz="1500" b="1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L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15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Perturbación o situación embarazosa político-administrativa </a:t>
                      </a:r>
                      <a:endParaRPr lang="es-ES" sz="1500" dirty="0" smtClean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/>
                </a:tc>
              </a:tr>
              <a:tr h="27434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1500" b="1" dirty="0" smtClean="0">
                          <a:latin typeface="Calibri" pitchFamily="34" charset="0"/>
                          <a:cs typeface="Calibri" pitchFamily="34" charset="0"/>
                        </a:rPr>
                        <a:t>L4</a:t>
                      </a:r>
                      <a:endParaRPr lang="es-ES" sz="15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1500" dirty="0" smtClean="0">
                          <a:latin typeface="Calibri" pitchFamily="34" charset="0"/>
                          <a:cs typeface="Calibri" pitchFamily="34" charset="0"/>
                        </a:rPr>
                        <a:t>Daño a las personas</a:t>
                      </a:r>
                      <a:endParaRPr lang="es-ES" sz="1500" dirty="0" smtClean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/>
                </a:tc>
              </a:tr>
              <a:tr h="30863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b="1" dirty="0" smtClean="0">
                          <a:latin typeface="Calibri" pitchFamily="34" charset="0"/>
                          <a:cs typeface="Calibri" pitchFamily="34" charset="0"/>
                        </a:rPr>
                        <a:t>D</a:t>
                      </a:r>
                      <a:endParaRPr lang="es-ES" sz="15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5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Disponibilidad </a:t>
                      </a:r>
                      <a:endParaRPr lang="es-ES" sz="15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27434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500" b="1" dirty="0" smtClean="0">
                          <a:latin typeface="Calibri" pitchFamily="34" charset="0"/>
                          <a:cs typeface="Calibri" pitchFamily="34" charset="0"/>
                        </a:rPr>
                        <a:t>I</a:t>
                      </a:r>
                      <a:endParaRPr lang="es-ES" sz="15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C" sz="15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Integridad </a:t>
                      </a:r>
                      <a:endParaRPr lang="es-ES" sz="1500" dirty="0" smtClean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9" name="8 Diagrama"/>
          <p:cNvGraphicFramePr/>
          <p:nvPr>
            <p:extLst>
              <p:ext uri="{D42A27DB-BD31-4B8C-83A1-F6EECF244321}">
                <p14:modId xmlns:p14="http://schemas.microsoft.com/office/powerpoint/2010/main" val="2662353"/>
              </p:ext>
            </p:extLst>
          </p:nvPr>
        </p:nvGraphicFramePr>
        <p:xfrm>
          <a:off x="4703014" y="666750"/>
          <a:ext cx="4193336" cy="2590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8" name="7 CuadroTexto"/>
          <p:cNvSpPr txBox="1"/>
          <p:nvPr/>
        </p:nvSpPr>
        <p:spPr>
          <a:xfrm>
            <a:off x="8280788" y="3128364"/>
            <a:ext cx="6094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dirty="0" smtClean="0"/>
              <a:t>(Pág. 36)</a:t>
            </a:r>
            <a:endParaRPr lang="es-ES" sz="800" dirty="0"/>
          </a:p>
        </p:txBody>
      </p:sp>
    </p:spTree>
    <p:extLst>
      <p:ext uri="{BB962C8B-B14F-4D97-AF65-F5344CB8AC3E}">
        <p14:creationId xmlns:p14="http://schemas.microsoft.com/office/powerpoint/2010/main" val="161939337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4 Gráfico"/>
          <p:cNvGraphicFramePr/>
          <p:nvPr>
            <p:extLst>
              <p:ext uri="{D42A27DB-BD31-4B8C-83A1-F6EECF244321}">
                <p14:modId xmlns:p14="http://schemas.microsoft.com/office/powerpoint/2010/main" val="349989978"/>
              </p:ext>
            </p:extLst>
          </p:nvPr>
        </p:nvGraphicFramePr>
        <p:xfrm>
          <a:off x="304972" y="1096025"/>
          <a:ext cx="6593370" cy="43157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1 Título"/>
          <p:cNvSpPr>
            <a:spLocks noGrp="1"/>
          </p:cNvSpPr>
          <p:nvPr>
            <p:ph type="title"/>
          </p:nvPr>
        </p:nvSpPr>
        <p:spPr>
          <a:xfrm>
            <a:off x="330200" y="0"/>
            <a:ext cx="8515350" cy="600075"/>
          </a:xfrm>
        </p:spPr>
        <p:txBody>
          <a:bodyPr/>
          <a:lstStyle/>
          <a:p>
            <a:r>
              <a:rPr lang="es-ES" sz="3200" cap="all" dirty="0">
                <a:effectLst/>
              </a:rPr>
              <a:t> </a:t>
            </a:r>
            <a:r>
              <a:rPr lang="es-ES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Análisis y Evaluación de Riesgos</a:t>
            </a:r>
            <a:r>
              <a:rPr lang="es-ES" sz="3200" cap="all" dirty="0">
                <a:effectLst/>
              </a:rPr>
              <a:t/>
            </a:r>
            <a:br>
              <a:rPr lang="es-ES" sz="3200" cap="all" dirty="0">
                <a:effectLst/>
              </a:rPr>
            </a:br>
            <a:r>
              <a:rPr lang="es-ES" sz="3200" cap="all" dirty="0" smtClean="0">
                <a:effectLst/>
              </a:rPr>
              <a:t>I</a:t>
            </a:r>
            <a:endParaRPr lang="es-ES" sz="3200" dirty="0"/>
          </a:p>
        </p:txBody>
      </p:sp>
      <p:sp>
        <p:nvSpPr>
          <p:cNvPr id="9" name="8 CuadroTexto"/>
          <p:cNvSpPr txBox="1"/>
          <p:nvPr/>
        </p:nvSpPr>
        <p:spPr>
          <a:xfrm>
            <a:off x="777011" y="5242488"/>
            <a:ext cx="13384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 smtClean="0">
                <a:latin typeface="Calibri" pitchFamily="34" charset="0"/>
                <a:cs typeface="Calibri" pitchFamily="34" charset="0"/>
              </a:rPr>
              <a:t>PC/Laptop</a:t>
            </a:r>
            <a:endParaRPr lang="es-ES" sz="16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2277467" y="5242488"/>
            <a:ext cx="1166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 smtClean="0">
                <a:latin typeface="Calibri" pitchFamily="34" charset="0"/>
                <a:cs typeface="Calibri" pitchFamily="34" charset="0"/>
              </a:rPr>
              <a:t>Servidor</a:t>
            </a:r>
            <a:endParaRPr lang="es-ES" sz="16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3678854" y="5266467"/>
            <a:ext cx="14974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 smtClean="0">
                <a:latin typeface="Calibri" pitchFamily="34" charset="0"/>
                <a:cs typeface="Calibri" pitchFamily="34" charset="0"/>
              </a:rPr>
              <a:t>Información</a:t>
            </a:r>
            <a:endParaRPr lang="es-ES" sz="16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5073686" y="5266467"/>
            <a:ext cx="15770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 smtClean="0">
                <a:latin typeface="Calibri" pitchFamily="34" charset="0"/>
                <a:cs typeface="Calibri" pitchFamily="34" charset="0"/>
              </a:rPr>
              <a:t>Aplicaciones</a:t>
            </a:r>
            <a:endParaRPr lang="es-ES" sz="1600" b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13" name="12 Diagrama"/>
          <p:cNvGraphicFramePr/>
          <p:nvPr>
            <p:extLst>
              <p:ext uri="{D42A27DB-BD31-4B8C-83A1-F6EECF244321}">
                <p14:modId xmlns:p14="http://schemas.microsoft.com/office/powerpoint/2010/main" val="3293455231"/>
              </p:ext>
            </p:extLst>
          </p:nvPr>
        </p:nvGraphicFramePr>
        <p:xfrm>
          <a:off x="3325567" y="5670260"/>
          <a:ext cx="1748119" cy="3894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979292"/>
              </p:ext>
            </p:extLst>
          </p:nvPr>
        </p:nvGraphicFramePr>
        <p:xfrm>
          <a:off x="7205568" y="3127391"/>
          <a:ext cx="1629150" cy="15316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71950"/>
                <a:gridCol w="457200"/>
              </a:tblGrid>
              <a:tr h="122555">
                <a:tc grid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200" dirty="0" smtClean="0">
                          <a:effectLst/>
                        </a:rPr>
                        <a:t>FRECUENCIA</a:t>
                      </a:r>
                      <a:endParaRPr lang="es-E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20955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effectLst/>
                        </a:rPr>
                        <a:t>Casi nunca</a:t>
                      </a:r>
                      <a:endParaRPr lang="es-E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es-E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effectLst/>
                        </a:rPr>
                        <a:t>Algunas veces</a:t>
                      </a:r>
                      <a:endParaRPr lang="es-E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es-E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9431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effectLst/>
                        </a:rPr>
                        <a:t>A menudo</a:t>
                      </a:r>
                      <a:endParaRPr lang="es-E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es-E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>
                          <a:effectLst/>
                        </a:rPr>
                        <a:t>Casi siempre</a:t>
                      </a:r>
                      <a:endParaRPr lang="es-ES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es-E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>
                          <a:effectLst/>
                        </a:rPr>
                        <a:t>Siempre</a:t>
                      </a:r>
                      <a:endParaRPr lang="es-ES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es-E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9557950"/>
              </p:ext>
            </p:extLst>
          </p:nvPr>
        </p:nvGraphicFramePr>
        <p:xfrm>
          <a:off x="7207624" y="1384165"/>
          <a:ext cx="1622051" cy="151955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69894"/>
                <a:gridCol w="452157"/>
              </a:tblGrid>
              <a:tr h="185420">
                <a:tc grid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 smtClean="0">
                          <a:effectLst/>
                        </a:rPr>
                        <a:t>IMPACTO</a:t>
                      </a:r>
                      <a:endParaRPr lang="es-E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20955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>
                          <a:effectLst/>
                        </a:rPr>
                        <a:t>Muy Bajo</a:t>
                      </a:r>
                      <a:endParaRPr lang="es-ES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effectLst/>
                        </a:rPr>
                        <a:t>1</a:t>
                      </a:r>
                      <a:endParaRPr lang="es-E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225032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effectLst/>
                        </a:rPr>
                        <a:t>Bajo</a:t>
                      </a:r>
                      <a:endParaRPr lang="es-E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effectLst/>
                        </a:rPr>
                        <a:t>2</a:t>
                      </a:r>
                      <a:endParaRPr lang="es-E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26225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>
                          <a:effectLst/>
                        </a:rPr>
                        <a:t>Medio</a:t>
                      </a:r>
                      <a:endParaRPr lang="es-ES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effectLst/>
                        </a:rPr>
                        <a:t>3</a:t>
                      </a:r>
                      <a:endParaRPr lang="es-E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>
                          <a:effectLst/>
                        </a:rPr>
                        <a:t>Alta</a:t>
                      </a:r>
                      <a:endParaRPr lang="es-ES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effectLst/>
                        </a:rPr>
                        <a:t>4</a:t>
                      </a:r>
                      <a:endParaRPr lang="es-E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effectLst/>
                        </a:rPr>
                        <a:t>Muy alto</a:t>
                      </a:r>
                      <a:endParaRPr lang="es-E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effectLst/>
                        </a:rPr>
                        <a:t>5</a:t>
                      </a:r>
                      <a:endParaRPr lang="es-E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4" name="13 CuadroTexto"/>
          <p:cNvSpPr txBox="1"/>
          <p:nvPr/>
        </p:nvSpPr>
        <p:spPr>
          <a:xfrm>
            <a:off x="6487119" y="4999459"/>
            <a:ext cx="10680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 dirty="0" smtClean="0">
                <a:latin typeface="Calibri" pitchFamily="34" charset="0"/>
                <a:cs typeface="Calibri" pitchFamily="34" charset="0"/>
              </a:rPr>
              <a:t>Amenazas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8485646" y="5864986"/>
            <a:ext cx="6094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dirty="0" smtClean="0"/>
              <a:t>(Pág. 39)</a:t>
            </a:r>
            <a:endParaRPr lang="es-ES" sz="800" dirty="0"/>
          </a:p>
        </p:txBody>
      </p:sp>
    </p:spTree>
    <p:extLst>
      <p:ext uri="{BB962C8B-B14F-4D97-AF65-F5344CB8AC3E}">
        <p14:creationId xmlns:p14="http://schemas.microsoft.com/office/powerpoint/2010/main" val="1936066447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1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  <p:bldGraphic spid="13" grpId="0">
        <p:bldAsOne/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5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AutoShape 4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1" name="Picture 7" descr="blue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/>
          <a:srcRect b="10303"/>
          <a:stretch>
            <a:fillRect/>
          </a:stretch>
        </p:blipFill>
        <p:spPr bwMode="auto">
          <a:xfrm>
            <a:off x="0" y="490599"/>
            <a:ext cx="9144000" cy="5637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66725" y="2414588"/>
            <a:ext cx="8677275" cy="1448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>
              <a:lnSpc>
                <a:spcPct val="110000"/>
              </a:lnSpc>
              <a:defRPr/>
            </a:pPr>
            <a:r>
              <a:rPr lang="es-EC" sz="4000" dirty="0" smtClean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alibri" pitchFamily="34" charset="0"/>
              </a:rPr>
              <a:t>Ejecución del Sistema </a:t>
            </a:r>
            <a:r>
              <a:rPr lang="es-EC" sz="4000" dirty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alibri" pitchFamily="34" charset="0"/>
              </a:rPr>
              <a:t>de </a:t>
            </a:r>
            <a:r>
              <a:rPr lang="es-EC" sz="4000" dirty="0" smtClean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alibri" pitchFamily="34" charset="0"/>
              </a:rPr>
              <a:t>Gestión </a:t>
            </a:r>
            <a:r>
              <a:rPr lang="es-EC" sz="4000" dirty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alibri" pitchFamily="34" charset="0"/>
              </a:rPr>
              <a:t>de </a:t>
            </a:r>
            <a:r>
              <a:rPr lang="es-EC" sz="4000" dirty="0" smtClean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alibri" pitchFamily="34" charset="0"/>
              </a:rPr>
              <a:t>Seguridad </a:t>
            </a:r>
            <a:r>
              <a:rPr lang="es-EC" sz="4000" dirty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alibri" pitchFamily="34" charset="0"/>
              </a:rPr>
              <a:t>de la </a:t>
            </a:r>
            <a:r>
              <a:rPr lang="es-EC" sz="4000" dirty="0" smtClean="0">
                <a:solidFill>
                  <a:schemeClr val="bg1"/>
                </a:solidFill>
                <a:effectLst>
                  <a:outerShdw blurRad="50800" dist="38100" algn="tr" rotWithShape="0">
                    <a:prstClr val="black">
                      <a:alpha val="40000"/>
                    </a:prstClr>
                  </a:outerShdw>
                </a:effectLst>
                <a:latin typeface="Calibri" pitchFamily="34" charset="0"/>
              </a:rPr>
              <a:t>Información</a:t>
            </a:r>
            <a:endParaRPr lang="de-DE" sz="4000" b="1" dirty="0">
              <a:solidFill>
                <a:schemeClr val="bg1"/>
              </a:solidFill>
              <a:latin typeface="Calibri" pitchFamily="34" charset="0"/>
              <a:ea typeface="ＭＳ Ｐゴシック" pitchFamily="-49" charset="-128"/>
            </a:endParaRPr>
          </a:p>
        </p:txBody>
      </p:sp>
      <p:pic>
        <p:nvPicPr>
          <p:cNvPr id="2054" name="9 Imagen" descr="2110100046-331001.jpg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8FBFF"/>
              </a:clrFrom>
              <a:clrTo>
                <a:srgbClr val="F8FBFF">
                  <a:alpha val="0"/>
                </a:srgbClr>
              </a:clrTo>
            </a:clrChange>
          </a:blip>
          <a:srcRect l="3062" t="6410" r="3156" b="21388"/>
          <a:stretch>
            <a:fillRect/>
          </a:stretch>
        </p:blipFill>
        <p:spPr bwMode="auto">
          <a:xfrm>
            <a:off x="249238" y="6267450"/>
            <a:ext cx="1998662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26 Imagen" descr="unlock (7).png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166100" y="0"/>
            <a:ext cx="7493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0" y="-57150"/>
            <a:ext cx="4695825" cy="576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es-EC" sz="30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Capítulo III</a:t>
            </a:r>
            <a:endParaRPr lang="de-DE" sz="3000" b="1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8853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02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74568" y="0"/>
            <a:ext cx="8515350" cy="600075"/>
          </a:xfrm>
        </p:spPr>
        <p:txBody>
          <a:bodyPr/>
          <a:lstStyle/>
          <a:p>
            <a:r>
              <a:rPr lang="es-ES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Implementar Plan de Tratamiento de Riesgo</a:t>
            </a:r>
          </a:p>
        </p:txBody>
      </p:sp>
      <p:graphicFrame>
        <p:nvGraphicFramePr>
          <p:cNvPr id="8" name="7 Diagrama"/>
          <p:cNvGraphicFramePr/>
          <p:nvPr>
            <p:extLst>
              <p:ext uri="{D42A27DB-BD31-4B8C-83A1-F6EECF244321}">
                <p14:modId xmlns:p14="http://schemas.microsoft.com/office/powerpoint/2010/main" val="1553058324"/>
              </p:ext>
            </p:extLst>
          </p:nvPr>
        </p:nvGraphicFramePr>
        <p:xfrm>
          <a:off x="-40944" y="2406185"/>
          <a:ext cx="1988457" cy="23399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4 Rectángulo"/>
          <p:cNvSpPr/>
          <p:nvPr/>
        </p:nvSpPr>
        <p:spPr>
          <a:xfrm>
            <a:off x="-196949" y="1870719"/>
            <a:ext cx="278417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C" sz="24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itchFamily="34" charset="0"/>
                <a:cs typeface="Calibri" pitchFamily="34" charset="0"/>
              </a:rPr>
              <a:t>Opciones de PTR</a:t>
            </a:r>
            <a:endParaRPr lang="es-ES" sz="24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354651" y="654325"/>
            <a:ext cx="848909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2000" dirty="0">
                <a:latin typeface="Calibri" pitchFamily="34" charset="0"/>
                <a:cs typeface="Calibri" pitchFamily="34" charset="0"/>
              </a:rPr>
              <a:t>E</a:t>
            </a:r>
            <a:r>
              <a:rPr lang="es-ES" sz="2000" dirty="0" smtClean="0">
                <a:latin typeface="Calibri" pitchFamily="34" charset="0"/>
                <a:cs typeface="Calibri" pitchFamily="34" charset="0"/>
              </a:rPr>
              <a:t>l </a:t>
            </a:r>
            <a:r>
              <a:rPr lang="es-ES" sz="2000" dirty="0" err="1" smtClean="0">
                <a:latin typeface="Calibri" pitchFamily="34" charset="0"/>
                <a:cs typeface="Calibri" pitchFamily="34" charset="0"/>
              </a:rPr>
              <a:t>PTR</a:t>
            </a:r>
            <a:r>
              <a:rPr lang="es-ES" sz="2000" dirty="0" smtClean="0">
                <a:latin typeface="Calibri" pitchFamily="34" charset="0"/>
                <a:cs typeface="Calibri" pitchFamily="34" charset="0"/>
              </a:rPr>
              <a:t> es el proceso por el cual se controlan, minimizan o eliminan los riesgos</a:t>
            </a:r>
          </a:p>
          <a:p>
            <a:r>
              <a:rPr lang="es-ES" sz="2000" dirty="0" smtClean="0">
                <a:latin typeface="Calibri" pitchFamily="34" charset="0"/>
                <a:cs typeface="Calibri" pitchFamily="34" charset="0"/>
              </a:rPr>
              <a:t>que afectan a los activos de la organización aplicando las medidas adecuadas:</a:t>
            </a:r>
          </a:p>
          <a:p>
            <a:endParaRPr lang="es-ES" sz="2000" dirty="0" smtClean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val="3018875834"/>
              </p:ext>
            </p:extLst>
          </p:nvPr>
        </p:nvGraphicFramePr>
        <p:xfrm>
          <a:off x="3524961" y="2495446"/>
          <a:ext cx="2974317" cy="31759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9" name="8 Diagrama"/>
          <p:cNvGraphicFramePr/>
          <p:nvPr>
            <p:extLst>
              <p:ext uri="{D42A27DB-BD31-4B8C-83A1-F6EECF244321}">
                <p14:modId xmlns:p14="http://schemas.microsoft.com/office/powerpoint/2010/main" val="703593692"/>
              </p:ext>
            </p:extLst>
          </p:nvPr>
        </p:nvGraphicFramePr>
        <p:xfrm>
          <a:off x="6626667" y="2523444"/>
          <a:ext cx="1856155" cy="31759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10" name="9 Rectángulo"/>
          <p:cNvSpPr/>
          <p:nvPr/>
        </p:nvSpPr>
        <p:spPr>
          <a:xfrm>
            <a:off x="3812946" y="1870719"/>
            <a:ext cx="38347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EC" sz="24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itchFamily="34" charset="0"/>
                <a:cs typeface="Calibri" pitchFamily="34" charset="0"/>
              </a:rPr>
              <a:t>Implementación del PTR</a:t>
            </a:r>
            <a:endParaRPr lang="es-ES" sz="24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3" name="2 Imagen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6826" y="1523603"/>
            <a:ext cx="990600" cy="990600"/>
          </a:xfrm>
          <a:prstGeom prst="rect">
            <a:avLst/>
          </a:prstGeom>
        </p:spPr>
      </p:pic>
      <p:sp>
        <p:nvSpPr>
          <p:cNvPr id="11" name="10 CuadroTexto"/>
          <p:cNvSpPr txBox="1"/>
          <p:nvPr/>
        </p:nvSpPr>
        <p:spPr>
          <a:xfrm>
            <a:off x="7847330" y="5684754"/>
            <a:ext cx="63831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dirty="0" smtClean="0"/>
              <a:t>(Pág.: 43)</a:t>
            </a:r>
            <a:endParaRPr lang="es-ES" sz="800" dirty="0"/>
          </a:p>
        </p:txBody>
      </p:sp>
    </p:spTree>
    <p:extLst>
      <p:ext uri="{BB962C8B-B14F-4D97-AF65-F5344CB8AC3E}">
        <p14:creationId xmlns:p14="http://schemas.microsoft.com/office/powerpoint/2010/main" val="687333423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/>
        </p:nvSpPr>
        <p:spPr>
          <a:xfrm>
            <a:off x="574668" y="792778"/>
            <a:ext cx="7988300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s-EC" sz="2000" dirty="0" smtClean="0">
                <a:latin typeface="Calibri" pitchFamily="34" charset="0"/>
                <a:cs typeface="Calibri" pitchFamily="34" charset="0"/>
              </a:rPr>
              <a:t>Permiten </a:t>
            </a:r>
            <a:r>
              <a:rPr lang="es-EC" sz="2000" dirty="0">
                <a:latin typeface="Calibri" pitchFamily="34" charset="0"/>
                <a:cs typeface="Calibri" pitchFamily="34" charset="0"/>
              </a:rPr>
              <a:t>hacer frente a las amenazas. Hay diferentes aspectos en los cuales puede actuar una salvaguarda para alcanzar sus objetivos de limitación del impacto y/o mitigación del riesgo:</a:t>
            </a:r>
            <a:endParaRPr lang="es-ES" sz="2000" dirty="0">
              <a:latin typeface="Calibri" pitchFamily="34" charset="0"/>
              <a:cs typeface="Calibri" pitchFamily="34" charset="0"/>
            </a:endParaRPr>
          </a:p>
          <a:p>
            <a:pPr marL="342900" indent="-342900" algn="just">
              <a:buFont typeface="Arial" pitchFamily="34" charset="0"/>
              <a:buChar char="•"/>
            </a:pPr>
            <a:endParaRPr lang="es-EC" sz="2000" b="1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4 Imagen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3387" y="2947916"/>
            <a:ext cx="3881403" cy="3220047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50825" y="0"/>
            <a:ext cx="8515350" cy="600075"/>
          </a:xfrm>
        </p:spPr>
        <p:txBody>
          <a:bodyPr/>
          <a:lstStyle/>
          <a:p>
            <a:r>
              <a:rPr lang="es-ES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Salvaguardas </a:t>
            </a:r>
          </a:p>
        </p:txBody>
      </p:sp>
      <p:graphicFrame>
        <p:nvGraphicFramePr>
          <p:cNvPr id="3" name="2 Diagrama"/>
          <p:cNvGraphicFramePr/>
          <p:nvPr>
            <p:extLst>
              <p:ext uri="{D42A27DB-BD31-4B8C-83A1-F6EECF244321}">
                <p14:modId xmlns:p14="http://schemas.microsoft.com/office/powerpoint/2010/main" val="3907486495"/>
              </p:ext>
            </p:extLst>
          </p:nvPr>
        </p:nvGraphicFramePr>
        <p:xfrm>
          <a:off x="3427900" y="2864486"/>
          <a:ext cx="2527495" cy="23942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51648635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1 Título"/>
          <p:cNvSpPr>
            <a:spLocks noGrp="1"/>
          </p:cNvSpPr>
          <p:nvPr>
            <p:ph type="title"/>
          </p:nvPr>
        </p:nvSpPr>
        <p:spPr>
          <a:xfrm>
            <a:off x="225346" y="1026185"/>
            <a:ext cx="8515350" cy="600075"/>
          </a:xfrm>
        </p:spPr>
        <p:txBody>
          <a:bodyPr/>
          <a:lstStyle/>
          <a:p>
            <a:pPr algn="ctr"/>
            <a:r>
              <a:rPr lang="es-EC" sz="3600" i="0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grantes</a:t>
            </a:r>
            <a:r>
              <a:rPr lang="es-EC" sz="3600" dirty="0" smtClean="0">
                <a:solidFill>
                  <a:schemeClr val="accent6"/>
                </a:solidFill>
                <a:effectLst>
                  <a:outerShdw blurRad="38100" dist="38100" dir="2700000" algn="tl" rotWithShape="0">
                    <a:srgbClr val="000000">
                      <a:alpha val="43137"/>
                    </a:srgbClr>
                  </a:outerShdw>
                </a:effectLst>
              </a:rPr>
              <a:t>:</a:t>
            </a:r>
          </a:p>
        </p:txBody>
      </p:sp>
      <p:graphicFrame>
        <p:nvGraphicFramePr>
          <p:cNvPr id="4" name="3 Diagrama"/>
          <p:cNvGraphicFramePr/>
          <p:nvPr/>
        </p:nvGraphicFramePr>
        <p:xfrm>
          <a:off x="2603736" y="1972667"/>
          <a:ext cx="5059589" cy="19177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1 Título"/>
          <p:cNvSpPr txBox="1">
            <a:spLocks/>
          </p:cNvSpPr>
          <p:nvPr/>
        </p:nvSpPr>
        <p:spPr bwMode="auto">
          <a:xfrm>
            <a:off x="3550974" y="4470400"/>
            <a:ext cx="192405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latinLnBrk="0">
              <a:lnSpc>
                <a:spcPct val="95000"/>
              </a:lnSpc>
              <a:buClrTx/>
              <a:buSzTx/>
              <a:buFontTx/>
              <a:buNone/>
              <a:tabLst/>
              <a:defRPr/>
            </a:pPr>
            <a:r>
              <a:rPr lang="es-EC" sz="3600" b="1" spc="150" dirty="0" smtClean="0">
                <a:ln w="11430"/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+mj-ea"/>
                <a:cs typeface="+mj-cs"/>
              </a:rPr>
              <a:t>Director: </a:t>
            </a:r>
          </a:p>
        </p:txBody>
      </p:sp>
      <p:sp>
        <p:nvSpPr>
          <p:cNvPr id="6" name="1 Título"/>
          <p:cNvSpPr txBox="1">
            <a:spLocks/>
          </p:cNvSpPr>
          <p:nvPr/>
        </p:nvSpPr>
        <p:spPr bwMode="auto">
          <a:xfrm>
            <a:off x="2418822" y="5060950"/>
            <a:ext cx="4429125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 algn="ctr">
              <a:lnSpc>
                <a:spcPct val="95000"/>
              </a:lnSpc>
            </a:pPr>
            <a:r>
              <a:rPr lang="es-EC" b="1" dirty="0" smtClean="0"/>
              <a:t>Mba. Víctor muñoz Chachapolla</a:t>
            </a:r>
            <a:endParaRPr kumimoji="0" lang="es-EC" b="1" i="0" u="none" strike="noStrike" kern="0" cap="none" spc="0" normalizeH="0" baseline="0" noProof="0" dirty="0" smtClean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  <p:bldP spid="6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 txBox="1">
            <a:spLocks/>
          </p:cNvSpPr>
          <p:nvPr/>
        </p:nvSpPr>
        <p:spPr bwMode="auto">
          <a:xfrm>
            <a:off x="250825" y="0"/>
            <a:ext cx="851535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s-ES" sz="2400" b="1" i="1" u="none" cap="none" spc="150" noProof="0" dirty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 pitchFamily="34" charset="0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5pPr>
            <a:lvl6pPr marL="4572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6pPr>
            <a:lvl7pPr marL="9144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7pPr>
            <a:lvl8pPr marL="13716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8pPr>
            <a:lvl9pPr marL="18288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9pPr>
          </a:lstStyle>
          <a:p>
            <a:r>
              <a:rPr lang="es-ES" sz="3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Selección de Controles y </a:t>
            </a:r>
            <a:r>
              <a:rPr lang="es-ES" sz="30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SOA</a:t>
            </a:r>
            <a:endParaRPr lang="es-ES" sz="3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n-ea"/>
              <a:cs typeface="Calibri" pitchFamily="34" charset="0"/>
            </a:endParaRPr>
          </a:p>
        </p:txBody>
      </p:sp>
      <p:pic>
        <p:nvPicPr>
          <p:cNvPr id="1034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600075"/>
            <a:ext cx="8572500" cy="452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5672327"/>
              </p:ext>
            </p:extLst>
          </p:nvPr>
        </p:nvGraphicFramePr>
        <p:xfrm>
          <a:off x="222250" y="5254371"/>
          <a:ext cx="3627120" cy="777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9430"/>
                <a:gridCol w="3107690"/>
              </a:tblGrid>
              <a:tr h="200025">
                <a:tc grid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2152650" algn="l"/>
                        </a:tabLst>
                      </a:pPr>
                      <a:r>
                        <a:rPr lang="es-EC" sz="1200" dirty="0" smtClean="0">
                          <a:effectLst/>
                        </a:rPr>
                        <a:t>CONTROLES Y RAZONES DE SELECCIÓN</a:t>
                      </a:r>
                      <a:endParaRPr lang="es-E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16192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>
                          <a:effectLst/>
                        </a:rPr>
                        <a:t>LR:</a:t>
                      </a:r>
                      <a:endParaRPr lang="es-ES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138430" algn="l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>
                          <a:effectLst/>
                        </a:rPr>
                        <a:t>Requerimientos Legales.</a:t>
                      </a:r>
                      <a:endParaRPr lang="es-ES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93358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>
                          <a:effectLst/>
                        </a:rPr>
                        <a:t>CO:</a:t>
                      </a:r>
                      <a:endParaRPr lang="es-ES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138430" algn="l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effectLst/>
                        </a:rPr>
                        <a:t>Obligaciones Contractuales.</a:t>
                      </a:r>
                      <a:endParaRPr lang="es-E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graphicFrame>
        <p:nvGraphicFramePr>
          <p:cNvPr id="7" name="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9127740"/>
              </p:ext>
            </p:extLst>
          </p:nvPr>
        </p:nvGraphicFramePr>
        <p:xfrm>
          <a:off x="4017646" y="5244147"/>
          <a:ext cx="4787899" cy="7772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27275"/>
                <a:gridCol w="4060624"/>
              </a:tblGrid>
              <a:tr h="200025">
                <a:tc grid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2152650" algn="l"/>
                        </a:tabLst>
                      </a:pPr>
                      <a:r>
                        <a:rPr lang="es-EC" sz="1200" dirty="0">
                          <a:effectLst/>
                        </a:rPr>
                        <a:t>CONTROLES Y RAZONES DE SELECCIÓN</a:t>
                      </a:r>
                      <a:endParaRPr lang="es-E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16192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effectLst/>
                        </a:rPr>
                        <a:t>BR / BP:</a:t>
                      </a:r>
                      <a:endParaRPr lang="es-E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138430" algn="l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effectLst/>
                        </a:rPr>
                        <a:t>Requerimientos de Negocio/Adoptar las mejores </a:t>
                      </a:r>
                      <a:r>
                        <a:rPr lang="es-EC" sz="1100" dirty="0" smtClean="0">
                          <a:effectLst/>
                        </a:rPr>
                        <a:t>prácticas</a:t>
                      </a:r>
                      <a:r>
                        <a:rPr lang="es-EC" sz="1100" dirty="0">
                          <a:effectLst/>
                        </a:rPr>
                        <a:t>.</a:t>
                      </a:r>
                      <a:endParaRPr lang="es-E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6192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>
                          <a:effectLst/>
                        </a:rPr>
                        <a:t>RRA:</a:t>
                      </a:r>
                      <a:endParaRPr lang="es-ES" sz="12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116840" algn="l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C" sz="1100" dirty="0">
                          <a:effectLst/>
                        </a:rPr>
                        <a:t>Resultados de la evaluación de riesgos.</a:t>
                      </a:r>
                      <a:endParaRPr lang="es-ES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9" name="8 CuadroTexto"/>
          <p:cNvSpPr txBox="1"/>
          <p:nvPr/>
        </p:nvSpPr>
        <p:spPr>
          <a:xfrm>
            <a:off x="8166488" y="6033794"/>
            <a:ext cx="60946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800" dirty="0" smtClean="0"/>
              <a:t>(Pág. 58)</a:t>
            </a:r>
            <a:endParaRPr lang="es-ES" sz="800" dirty="0"/>
          </a:p>
        </p:txBody>
      </p:sp>
    </p:spTree>
    <p:extLst>
      <p:ext uri="{BB962C8B-B14F-4D97-AF65-F5344CB8AC3E}">
        <p14:creationId xmlns:p14="http://schemas.microsoft.com/office/powerpoint/2010/main" val="141991944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2204" y="0"/>
            <a:ext cx="9101796" cy="600075"/>
          </a:xfrm>
        </p:spPr>
        <p:txBody>
          <a:bodyPr>
            <a:scene3d>
              <a:camera prst="orthographicFront"/>
              <a:lightRig rig="soft" dir="t">
                <a:rot lat="0" lon="0" rev="10800000"/>
              </a:lightRig>
            </a:scene3d>
            <a:sp3d>
              <a:contourClr>
                <a:srgbClr val="DDDDDD"/>
              </a:contourClr>
            </a:sp3d>
          </a:bodyPr>
          <a:lstStyle/>
          <a:p>
            <a:r>
              <a:rPr lang="es-EC" sz="29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Políticas de Seguridad -</a:t>
            </a:r>
            <a:r>
              <a:rPr lang="es-EC" sz="29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Calibri" pitchFamily="34" charset="0"/>
              </a:rPr>
              <a:t> </a:t>
            </a:r>
            <a:r>
              <a:rPr lang="es-EC" sz="29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Identificación de </a:t>
            </a:r>
            <a:r>
              <a:rPr lang="es-EC" sz="29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los Equipos</a:t>
            </a:r>
            <a:endParaRPr lang="es-EC" sz="29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n-ea"/>
              <a:cs typeface="Calibri" pitchFamily="34" charset="0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87338" y="940707"/>
            <a:ext cx="8524875" cy="1613806"/>
          </a:xfrm>
        </p:spPr>
        <p:txBody>
          <a:bodyPr/>
          <a:lstStyle/>
          <a:p>
            <a:pPr lvl="0" algn="just">
              <a:lnSpc>
                <a:spcPct val="150000"/>
              </a:lnSpc>
              <a:buNone/>
            </a:pPr>
            <a:r>
              <a:rPr lang="es-EC" dirty="0" smtClean="0">
                <a:latin typeface="Calibri" pitchFamily="34" charset="0"/>
                <a:cs typeface="Calibri" pitchFamily="34" charset="0"/>
              </a:rPr>
              <a:t>   Se identificarán los activos importantes asociados a cada sistema de   información, para luego elaborar un inventario con dicha información.</a:t>
            </a:r>
          </a:p>
          <a:p>
            <a:pPr lvl="0" algn="just">
              <a:buNone/>
            </a:pPr>
            <a:r>
              <a:rPr lang="es-EC" dirty="0">
                <a:latin typeface="Calibri" pitchFamily="34" charset="0"/>
                <a:cs typeface="Calibri" pitchFamily="34" charset="0"/>
              </a:rPr>
              <a:t>	</a:t>
            </a:r>
            <a:r>
              <a:rPr lang="es-EC" dirty="0" smtClean="0">
                <a:latin typeface="Calibri" pitchFamily="34" charset="0"/>
                <a:cs typeface="Calibri" pitchFamily="34" charset="0"/>
              </a:rPr>
              <a:t>Detalle del nuevo formato de Inventario:</a:t>
            </a:r>
          </a:p>
          <a:p>
            <a:pPr>
              <a:lnSpc>
                <a:spcPct val="150000"/>
              </a:lnSpc>
              <a:buNone/>
            </a:pPr>
            <a:endParaRPr lang="es-EC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342900" y="604838"/>
            <a:ext cx="1979613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95000"/>
              </a:lnSpc>
              <a:defRPr/>
            </a:pPr>
            <a:r>
              <a:rPr lang="es-EC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ARTÍCULO 4.-</a:t>
            </a:r>
            <a:r>
              <a:rPr lang="en-US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 </a:t>
            </a:r>
            <a:endParaRPr lang="es-ES" sz="1600" b="1" kern="0" dirty="0" smtClean="0">
              <a:solidFill>
                <a:schemeClr val="accent2"/>
              </a:solidFill>
              <a:latin typeface="Calibri" pitchFamily="34" charset="0"/>
              <a:ea typeface="+mj-ea"/>
              <a:cs typeface="+mj-cs"/>
            </a:endParaRPr>
          </a:p>
          <a:p>
            <a:pPr marL="285750" indent="-285750" eaLnBrk="1" hangingPunct="1">
              <a:spcBef>
                <a:spcPct val="40000"/>
              </a:spcBef>
              <a:buClr>
                <a:schemeClr val="accent1"/>
              </a:buClr>
              <a:buFont typeface="Arial" pitchFamily="34" charset="0"/>
              <a:buChar char="•"/>
            </a:pPr>
            <a:endParaRPr lang="de-DE" sz="1600" dirty="0"/>
          </a:p>
        </p:txBody>
      </p:sp>
      <p:graphicFrame>
        <p:nvGraphicFramePr>
          <p:cNvPr id="5" name="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1217256"/>
              </p:ext>
            </p:extLst>
          </p:nvPr>
        </p:nvGraphicFramePr>
        <p:xfrm>
          <a:off x="876300" y="2654076"/>
          <a:ext cx="7600950" cy="3471797"/>
        </p:xfrm>
        <a:graphic>
          <a:graphicData uri="http://schemas.openxmlformats.org/drawingml/2006/table">
            <a:tbl>
              <a:tblPr/>
              <a:tblGrid>
                <a:gridCol w="1433026"/>
                <a:gridCol w="1039438"/>
                <a:gridCol w="145189"/>
                <a:gridCol w="1325130"/>
                <a:gridCol w="911788"/>
                <a:gridCol w="779578"/>
                <a:gridCol w="866198"/>
                <a:gridCol w="1100603"/>
              </a:tblGrid>
              <a:tr h="23145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Área</a:t>
                      </a:r>
                      <a:endParaRPr lang="es-EC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Responsable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</a:tr>
              <a:tr h="2314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 dirty="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 dirty="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Cargo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</a:tr>
              <a:tr h="22123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Nombre del Equipo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626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145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CPU</a:t>
                      </a:r>
                      <a:endParaRPr lang="es-EC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Monitor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Mouse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Teclado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Impresora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</a:tr>
              <a:tr h="23145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Serie No.</a:t>
                      </a:r>
                      <a:endParaRPr lang="es-EC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Serie No.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145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Marca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Marca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145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Memoria RAM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Modelo No.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145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Disco Duro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3145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Procesador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43025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Sistema Operativo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 dirty="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626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endParaRPr lang="es-EC" sz="1100">
                        <a:latin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145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Observación</a:t>
                      </a:r>
                      <a:endParaRPr lang="es-EC" sz="12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DBEB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200" dirty="0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-</a:t>
                      </a:r>
                      <a:endParaRPr lang="es-EC" sz="12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930" y="0"/>
            <a:ext cx="8515350" cy="600075"/>
          </a:xfrm>
        </p:spPr>
        <p:txBody>
          <a:bodyPr/>
          <a:lstStyle/>
          <a:p>
            <a:r>
              <a:rPr lang="es-EC" sz="30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Identificación de </a:t>
            </a:r>
            <a:r>
              <a:rPr lang="es-EC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los Equipos de Cómputo</a:t>
            </a:r>
            <a:r>
              <a:rPr lang="es-EC" sz="32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/>
            </a:r>
            <a:br>
              <a:rPr lang="es-EC" sz="32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</a:br>
            <a:endParaRPr lang="es-EC" sz="32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n-ea"/>
              <a:cs typeface="Calibri" pitchFamily="34" charset="0"/>
            </a:endParaRPr>
          </a:p>
        </p:txBody>
      </p:sp>
      <p:sp>
        <p:nvSpPr>
          <p:cNvPr id="8" name="2 Marcador de contenido"/>
          <p:cNvSpPr txBox="1">
            <a:spLocks/>
          </p:cNvSpPr>
          <p:nvPr/>
        </p:nvSpPr>
        <p:spPr bwMode="auto">
          <a:xfrm>
            <a:off x="354596" y="968061"/>
            <a:ext cx="6629399" cy="4596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000" indent="-18891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-"/>
              <a:defRPr sz="2800">
                <a:solidFill>
                  <a:schemeClr val="tx1"/>
                </a:solidFill>
                <a:latin typeface="+mn-lt"/>
              </a:defRPr>
            </a:lvl2pPr>
            <a:lvl3pPr marL="561975" indent="-179388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-"/>
              <a:defRPr sz="2400">
                <a:solidFill>
                  <a:schemeClr val="tx1"/>
                </a:solidFill>
                <a:latin typeface="+mn-lt"/>
              </a:defRPr>
            </a:lvl3pPr>
            <a:lvl4pPr marL="752475" indent="-18891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-"/>
              <a:defRPr sz="2000">
                <a:solidFill>
                  <a:schemeClr val="tx1"/>
                </a:solidFill>
                <a:latin typeface="+mn-lt"/>
              </a:defRPr>
            </a:lvl4pPr>
            <a:lvl5pPr marL="9620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14192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6pPr>
            <a:lvl7pPr marL="18764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7pPr>
            <a:lvl8pPr marL="23336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8pPr>
            <a:lvl9pPr marL="27908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2" algn="just">
              <a:lnSpc>
                <a:spcPct val="150000"/>
              </a:lnSpc>
              <a:buClr>
                <a:schemeClr val="accent6"/>
              </a:buClr>
              <a:buFont typeface="Wingdings" pitchFamily="2" charset="2"/>
              <a:buChar char="§"/>
            </a:pPr>
            <a:r>
              <a:rPr lang="es-EC" sz="2000" dirty="0" smtClean="0">
                <a:latin typeface="Calibri" pitchFamily="34" charset="0"/>
                <a:cs typeface="Calibri" pitchFamily="34" charset="0"/>
              </a:rPr>
              <a:t>Los equipos para uso interno se instalarán en lugares adecuados, lejos de polvo y tráfico de personas.</a:t>
            </a:r>
          </a:p>
          <a:p>
            <a:pPr lvl="2" algn="just">
              <a:lnSpc>
                <a:spcPct val="150000"/>
              </a:lnSpc>
              <a:buClr>
                <a:schemeClr val="accent6"/>
              </a:buClr>
              <a:buFont typeface="Wingdings" pitchFamily="2" charset="2"/>
              <a:buChar char="§"/>
            </a:pPr>
            <a:r>
              <a:rPr lang="es-EC" sz="2000" dirty="0" smtClean="0">
                <a:latin typeface="Calibri" pitchFamily="34" charset="0"/>
                <a:cs typeface="Calibri" pitchFamily="34" charset="0"/>
              </a:rPr>
              <a:t>Las instalaciones eléctricas y de comunicaciones, estarán de preferencia fija o en su defecto resguardadas del paso de personas o máquinas.</a:t>
            </a:r>
          </a:p>
          <a:p>
            <a:pPr lvl="2" algn="just">
              <a:lnSpc>
                <a:spcPct val="150000"/>
              </a:lnSpc>
              <a:buClr>
                <a:schemeClr val="accent6"/>
              </a:buClr>
              <a:buFont typeface="Wingdings" pitchFamily="2" charset="2"/>
              <a:buChar char="§"/>
            </a:pPr>
            <a:r>
              <a:rPr lang="es-EC" sz="2000" dirty="0" smtClean="0">
                <a:latin typeface="Calibri" pitchFamily="34" charset="0"/>
                <a:cs typeface="Calibri" pitchFamily="34" charset="0"/>
              </a:rPr>
              <a:t>En ningún caso se permitirán instalaciones improvisadas o sobrecargadas.</a:t>
            </a:r>
          </a:p>
          <a:p>
            <a:pPr algn="just">
              <a:lnSpc>
                <a:spcPct val="150000"/>
              </a:lnSpc>
            </a:pPr>
            <a:endParaRPr lang="es-EC" sz="18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304736" y="608171"/>
            <a:ext cx="1979613" cy="417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95000"/>
              </a:lnSpc>
              <a:defRPr/>
            </a:pPr>
            <a:r>
              <a:rPr lang="es-EC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ARTÍCULO</a:t>
            </a:r>
            <a:r>
              <a:rPr lang="en-US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  5 .-</a:t>
            </a:r>
            <a:endParaRPr lang="es-ES" sz="1600" b="1" kern="0" dirty="0" smtClean="0">
              <a:solidFill>
                <a:schemeClr val="accent2"/>
              </a:solidFill>
              <a:latin typeface="Calibri" pitchFamily="34" charset="0"/>
              <a:ea typeface="+mj-ea"/>
              <a:cs typeface="+mj-cs"/>
            </a:endParaRP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</a:pPr>
            <a:endParaRPr lang="de-DE" sz="1600" dirty="0"/>
          </a:p>
        </p:txBody>
      </p:sp>
      <p:pic>
        <p:nvPicPr>
          <p:cNvPr id="16" name="15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2396" y="4729981"/>
            <a:ext cx="5270556" cy="119326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7" name="16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7883" y="1000283"/>
            <a:ext cx="1495425" cy="14097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" name="17 Imagen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7387" y="2709361"/>
            <a:ext cx="1774530" cy="177453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Picture 3" descr="C:\Users\aceci\Desktop\Download\locked-up-laptop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7387" y="4770386"/>
            <a:ext cx="1676569" cy="111245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5" descr="C:\Users\aceci\Desktop\Download\seguro-para-laptop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983" y="4737598"/>
            <a:ext cx="1586454" cy="1112453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 tmFilter="0, 0; .2, .5; .8, .5; 1, 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250" autoRev="1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50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16036" y="0"/>
            <a:ext cx="8515350" cy="600075"/>
          </a:xfrm>
        </p:spPr>
        <p:txBody>
          <a:bodyPr/>
          <a:lstStyle/>
          <a:p>
            <a:r>
              <a:rPr lang="es-EC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Funcionamiento de los Equipos de cómputo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96634" y="3088975"/>
            <a:ext cx="6498857" cy="2156894"/>
          </a:xfrm>
        </p:spPr>
        <p:txBody>
          <a:bodyPr/>
          <a:lstStyle/>
          <a:p>
            <a:pPr marL="190500" lvl="1" indent="-1905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es-EC" sz="2000" kern="1200" dirty="0">
                <a:latin typeface="Calibri" pitchFamily="34" charset="0"/>
                <a:ea typeface="+mn-ea"/>
                <a:cs typeface="Calibri" pitchFamily="34" charset="0"/>
              </a:rPr>
              <a:t>Periódicamente ejecutar Análisis para detectar software viral almacenado en la estación de trabajo.</a:t>
            </a:r>
          </a:p>
          <a:p>
            <a:pPr marL="190500" lvl="1" indent="-1905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es-EC" sz="2000" kern="1200" dirty="0">
                <a:latin typeface="Calibri" pitchFamily="34" charset="0"/>
                <a:ea typeface="+mn-ea"/>
                <a:cs typeface="Calibri" pitchFamily="34" charset="0"/>
              </a:rPr>
              <a:t>Hacer revisiones al menos semanales para actualizar la definición del software antivirus.</a:t>
            </a:r>
          </a:p>
          <a:p>
            <a:pPr marL="190500" lvl="1" indent="-19050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es-EC" sz="2000" kern="1200" dirty="0">
                <a:latin typeface="Calibri" pitchFamily="34" charset="0"/>
                <a:ea typeface="+mn-ea"/>
                <a:cs typeface="Calibri" pitchFamily="34" charset="0"/>
              </a:rPr>
              <a:t>Debe ser un producto totalmente legal (con licencia o Software libre).</a:t>
            </a:r>
          </a:p>
          <a:p>
            <a:pPr lvl="1" algn="just"/>
            <a:endParaRPr lang="es-EC" sz="1800" dirty="0" smtClean="0">
              <a:latin typeface="Calibri" pitchFamily="34" charset="0"/>
              <a:cs typeface="Calibri" pitchFamily="34" charset="0"/>
            </a:endParaRPr>
          </a:p>
          <a:p>
            <a:endParaRPr lang="es-EC" dirty="0"/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296634" y="2902638"/>
            <a:ext cx="1427843" cy="338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95000"/>
              </a:lnSpc>
              <a:defRPr/>
            </a:pPr>
            <a:r>
              <a:rPr lang="es-EC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ARTÍCULO</a:t>
            </a:r>
            <a:r>
              <a:rPr lang="en-US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  10 .-</a:t>
            </a:r>
            <a:endParaRPr lang="es-ES" sz="1600" b="1" kern="0" dirty="0" smtClean="0">
              <a:solidFill>
                <a:schemeClr val="accent2"/>
              </a:solidFill>
              <a:latin typeface="Calibri" pitchFamily="34" charset="0"/>
              <a:ea typeface="+mj-ea"/>
              <a:cs typeface="+mj-cs"/>
            </a:endParaRP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</a:pPr>
            <a:endParaRPr lang="de-DE" sz="1600" dirty="0"/>
          </a:p>
        </p:txBody>
      </p:sp>
      <p:sp>
        <p:nvSpPr>
          <p:cNvPr id="6" name="2 Marcador de contenido"/>
          <p:cNvSpPr txBox="1">
            <a:spLocks/>
          </p:cNvSpPr>
          <p:nvPr/>
        </p:nvSpPr>
        <p:spPr bwMode="auto">
          <a:xfrm>
            <a:off x="287883" y="796704"/>
            <a:ext cx="6368634" cy="137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000" indent="-18891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-"/>
              <a:defRPr sz="2800">
                <a:solidFill>
                  <a:schemeClr val="tx1"/>
                </a:solidFill>
                <a:latin typeface="+mn-lt"/>
              </a:defRPr>
            </a:lvl2pPr>
            <a:lvl3pPr marL="561975" indent="-179388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-"/>
              <a:defRPr sz="2400">
                <a:solidFill>
                  <a:schemeClr val="tx1"/>
                </a:solidFill>
                <a:latin typeface="+mn-lt"/>
              </a:defRPr>
            </a:lvl3pPr>
            <a:lvl4pPr marL="752475" indent="-18891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-"/>
              <a:defRPr sz="2000">
                <a:solidFill>
                  <a:schemeClr val="tx1"/>
                </a:solidFill>
                <a:latin typeface="+mn-lt"/>
              </a:defRPr>
            </a:lvl4pPr>
            <a:lvl5pPr marL="9620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14192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6pPr>
            <a:lvl7pPr marL="18764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7pPr>
            <a:lvl8pPr marL="23336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8pPr>
            <a:lvl9pPr marL="27908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es-EC" dirty="0" smtClean="0">
                <a:latin typeface="Calibri" pitchFamily="34" charset="0"/>
                <a:cs typeface="Calibri" pitchFamily="34" charset="0"/>
              </a:rPr>
              <a:t>Los usuario de la compañía al usar el equipo de cómputo, se abstendrán de consumir alimentos, fumar o realizar actos que perjudiquen el funcionamiento del mismo o deterioren la información almacenada.</a:t>
            </a:r>
          </a:p>
          <a:p>
            <a:pPr algn="just">
              <a:lnSpc>
                <a:spcPct val="150000"/>
              </a:lnSpc>
            </a:pPr>
            <a:endParaRPr lang="es-EC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277585" y="-1265084"/>
            <a:ext cx="1427843" cy="338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95000"/>
              </a:lnSpc>
              <a:defRPr/>
            </a:pPr>
            <a:r>
              <a:rPr lang="es-EC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ARTICULO</a:t>
            </a:r>
            <a:r>
              <a:rPr lang="en-US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  7 .-</a:t>
            </a:r>
            <a:endParaRPr lang="es-ES" sz="1600" b="1" kern="0" dirty="0" smtClean="0">
              <a:solidFill>
                <a:schemeClr val="accent2"/>
              </a:solidFill>
              <a:latin typeface="Calibri" pitchFamily="34" charset="0"/>
              <a:ea typeface="+mj-ea"/>
              <a:cs typeface="+mj-cs"/>
            </a:endParaRP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</a:pPr>
            <a:endParaRPr lang="de-DE" sz="1600" dirty="0"/>
          </a:p>
        </p:txBody>
      </p:sp>
      <p:pic>
        <p:nvPicPr>
          <p:cNvPr id="8" name="7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1952" y="961783"/>
            <a:ext cx="1906815" cy="118354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Rectangle 6"/>
          <p:cNvSpPr>
            <a:spLocks noChangeArrowheads="1"/>
          </p:cNvSpPr>
          <p:nvPr/>
        </p:nvSpPr>
        <p:spPr bwMode="auto">
          <a:xfrm>
            <a:off x="287883" y="559713"/>
            <a:ext cx="1427843" cy="338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95000"/>
              </a:lnSpc>
              <a:defRPr/>
            </a:pPr>
            <a:r>
              <a:rPr lang="es-EC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ARTÍCULO</a:t>
            </a:r>
            <a:r>
              <a:rPr lang="en-US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  </a:t>
            </a:r>
            <a:r>
              <a:rPr lang="en-US" sz="1600" b="1" kern="0" dirty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7</a:t>
            </a:r>
            <a:r>
              <a:rPr lang="en-US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 .-</a:t>
            </a:r>
            <a:endParaRPr lang="es-ES" sz="1600" b="1" kern="0" dirty="0" smtClean="0">
              <a:solidFill>
                <a:schemeClr val="accent2"/>
              </a:solidFill>
              <a:latin typeface="Calibri" pitchFamily="34" charset="0"/>
              <a:ea typeface="+mj-ea"/>
              <a:cs typeface="+mj-cs"/>
            </a:endParaRP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</a:pPr>
            <a:endParaRPr lang="de-DE" sz="1600" dirty="0"/>
          </a:p>
        </p:txBody>
      </p:sp>
      <p:pic>
        <p:nvPicPr>
          <p:cNvPr id="103426" name="Picture 2" descr="C:\Users\aceci\Desktop\Download\virus jilock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5746" y="3638550"/>
            <a:ext cx="1942347" cy="193675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34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07758" y="1037457"/>
            <a:ext cx="8028216" cy="2478572"/>
          </a:xfrm>
        </p:spPr>
        <p:txBody>
          <a:bodyPr/>
          <a:lstStyle/>
          <a:p>
            <a:pPr lvl="0" algn="just">
              <a:lnSpc>
                <a:spcPct val="150000"/>
              </a:lnSpc>
            </a:pPr>
            <a:r>
              <a:rPr lang="es-EC" dirty="0" smtClean="0">
                <a:latin typeface="Calibri" pitchFamily="34" charset="0"/>
                <a:cs typeface="Calibri" pitchFamily="34" charset="0"/>
              </a:rPr>
              <a:t>Deberán existir los siguientes dispositivos de soporte en la empresa: </a:t>
            </a:r>
          </a:p>
          <a:p>
            <a:pPr lvl="1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s-EC" sz="2000" b="1" dirty="0">
                <a:latin typeface="Calibri" pitchFamily="34" charset="0"/>
                <a:cs typeface="Calibri" pitchFamily="34" charset="0"/>
              </a:rPr>
              <a:t>Aire acondicionado:</a:t>
            </a:r>
            <a:r>
              <a:rPr lang="es-EC" sz="2000" dirty="0">
                <a:latin typeface="Calibri" pitchFamily="34" charset="0"/>
                <a:cs typeface="Calibri" pitchFamily="34" charset="0"/>
              </a:rPr>
              <a:t> T</a:t>
            </a:r>
            <a:r>
              <a:rPr lang="es-EC" sz="2000" dirty="0" smtClean="0">
                <a:latin typeface="Calibri" pitchFamily="34" charset="0"/>
                <a:cs typeface="Calibri" pitchFamily="34" charset="0"/>
              </a:rPr>
              <a:t>emperatura entre </a:t>
            </a:r>
            <a:r>
              <a:rPr lang="es-EC" sz="2000" dirty="0">
                <a:latin typeface="Calibri" pitchFamily="34" charset="0"/>
                <a:cs typeface="Calibri" pitchFamily="34" charset="0"/>
              </a:rPr>
              <a:t>19º C y 20º C. </a:t>
            </a:r>
            <a:endParaRPr lang="es-ES" sz="2000" dirty="0">
              <a:latin typeface="Calibri" pitchFamily="34" charset="0"/>
              <a:cs typeface="Calibri" pitchFamily="34" charset="0"/>
            </a:endParaRPr>
          </a:p>
          <a:p>
            <a:pPr lvl="1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s-EC" sz="2000" b="1" dirty="0">
                <a:latin typeface="Calibri" pitchFamily="34" charset="0"/>
                <a:cs typeface="Calibri" pitchFamily="34" charset="0"/>
              </a:rPr>
              <a:t>Matafuegos:</a:t>
            </a:r>
            <a:r>
              <a:rPr lang="es-EC" sz="2000" dirty="0">
                <a:latin typeface="Calibri" pitchFamily="34" charset="0"/>
                <a:cs typeface="Calibri" pitchFamily="34" charset="0"/>
              </a:rPr>
              <a:t> </a:t>
            </a:r>
            <a:r>
              <a:rPr lang="es-EC" sz="2000" dirty="0" smtClean="0">
                <a:latin typeface="Calibri" pitchFamily="34" charset="0"/>
                <a:cs typeface="Calibri" pitchFamily="34" charset="0"/>
              </a:rPr>
              <a:t>Deberán </a:t>
            </a:r>
            <a:r>
              <a:rPr lang="es-EC" sz="2000" dirty="0">
                <a:latin typeface="Calibri" pitchFamily="34" charset="0"/>
                <a:cs typeface="Calibri" pitchFamily="34" charset="0"/>
              </a:rPr>
              <a:t>ser dispositivos químicos y </a:t>
            </a:r>
            <a:r>
              <a:rPr lang="es-EC" sz="2000" dirty="0" smtClean="0">
                <a:latin typeface="Calibri" pitchFamily="34" charset="0"/>
                <a:cs typeface="Calibri" pitchFamily="34" charset="0"/>
              </a:rPr>
              <a:t>manuales.</a:t>
            </a:r>
          </a:p>
          <a:p>
            <a:pPr lvl="1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s-EC" sz="2000" b="1" dirty="0" smtClean="0">
                <a:latin typeface="Calibri" pitchFamily="34" charset="0"/>
                <a:cs typeface="Calibri" pitchFamily="34" charset="0"/>
              </a:rPr>
              <a:t>UPS</a:t>
            </a:r>
            <a:r>
              <a:rPr lang="es-EC" sz="2000" b="1" dirty="0">
                <a:latin typeface="Calibri" pitchFamily="34" charset="0"/>
                <a:cs typeface="Calibri" pitchFamily="34" charset="0"/>
              </a:rPr>
              <a:t>:</a:t>
            </a:r>
            <a:r>
              <a:rPr lang="es-EC" sz="2000" dirty="0">
                <a:latin typeface="Calibri" pitchFamily="34" charset="0"/>
                <a:cs typeface="Calibri" pitchFamily="34" charset="0"/>
              </a:rPr>
              <a:t> </a:t>
            </a:r>
            <a:r>
              <a:rPr lang="es-EC" sz="2000" dirty="0" smtClean="0">
                <a:latin typeface="Calibri" pitchFamily="34" charset="0"/>
                <a:cs typeface="Calibri" pitchFamily="34" charset="0"/>
              </a:rPr>
              <a:t> Para que atienda a los equipos en general.</a:t>
            </a:r>
          </a:p>
          <a:p>
            <a:pPr lvl="1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es-EC" sz="20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s-EC" sz="2000" b="1" dirty="0" smtClean="0">
                <a:latin typeface="Calibri" pitchFamily="34" charset="0"/>
                <a:cs typeface="Calibri" pitchFamily="34" charset="0"/>
              </a:rPr>
              <a:t>Luz </a:t>
            </a:r>
            <a:r>
              <a:rPr lang="es-EC" sz="2000" b="1" dirty="0">
                <a:latin typeface="Calibri" pitchFamily="34" charset="0"/>
                <a:cs typeface="Calibri" pitchFamily="34" charset="0"/>
              </a:rPr>
              <a:t>de emergencia:</a:t>
            </a:r>
            <a:r>
              <a:rPr lang="es-EC" sz="2000" dirty="0">
                <a:latin typeface="Calibri" pitchFamily="34" charset="0"/>
                <a:cs typeface="Calibri" pitchFamily="34" charset="0"/>
              </a:rPr>
              <a:t> deberá existir una luz de </a:t>
            </a:r>
            <a:r>
              <a:rPr lang="es-EC" sz="2000" dirty="0" smtClean="0">
                <a:latin typeface="Calibri" pitchFamily="34" charset="0"/>
                <a:cs typeface="Calibri" pitchFamily="34" charset="0"/>
              </a:rPr>
              <a:t>emergencia que se</a:t>
            </a:r>
          </a:p>
          <a:p>
            <a:pPr marL="192087" lvl="1" indent="0" algn="just">
              <a:lnSpc>
                <a:spcPct val="150000"/>
              </a:lnSpc>
              <a:buNone/>
            </a:pPr>
            <a:r>
              <a:rPr lang="es-EC" sz="2000" dirty="0" smtClean="0">
                <a:latin typeface="Calibri" pitchFamily="34" charset="0"/>
                <a:cs typeface="Calibri" pitchFamily="34" charset="0"/>
              </a:rPr>
              <a:t>    </a:t>
            </a:r>
            <a:r>
              <a:rPr lang="es-EC" sz="2000" dirty="0">
                <a:latin typeface="Calibri" pitchFamily="34" charset="0"/>
                <a:cs typeface="Calibri" pitchFamily="34" charset="0"/>
              </a:rPr>
              <a:t>active automáticamente ante una contingencia. </a:t>
            </a:r>
            <a:endParaRPr lang="es-ES" sz="2000" dirty="0">
              <a:latin typeface="Calibri" pitchFamily="34" charset="0"/>
              <a:cs typeface="Calibri" pitchFamily="34" charset="0"/>
            </a:endParaRPr>
          </a:p>
          <a:p>
            <a:pPr lvl="3" algn="just"/>
            <a:endParaRPr lang="es-EC" sz="1800" dirty="0" smtClean="0">
              <a:latin typeface="Calibri" pitchFamily="34" charset="0"/>
              <a:cs typeface="Calibri" pitchFamily="34" charset="0"/>
            </a:endParaRPr>
          </a:p>
          <a:p>
            <a:pPr lvl="3" algn="just"/>
            <a:endParaRPr lang="es-EC" sz="1800" dirty="0" smtClean="0">
              <a:latin typeface="Calibri" pitchFamily="34" charset="0"/>
              <a:cs typeface="Calibri" pitchFamily="34" charset="0"/>
            </a:endParaRPr>
          </a:p>
          <a:p>
            <a:pPr lvl="0" algn="just"/>
            <a:endParaRPr lang="es-EC" sz="180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5" name="4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0564" y="2146779"/>
            <a:ext cx="1510821" cy="151082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77583" y="0"/>
            <a:ext cx="8515350" cy="600075"/>
          </a:xfrm>
        </p:spPr>
        <p:txBody>
          <a:bodyPr/>
          <a:lstStyle/>
          <a:p>
            <a:r>
              <a:rPr lang="es-EC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Dispositivos de Soporte</a:t>
            </a:r>
            <a:br>
              <a:rPr lang="es-EC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</a:br>
            <a:endParaRPr lang="es-EC" sz="30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n-ea"/>
              <a:cs typeface="Calibri" pitchFamily="34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191858" y="653705"/>
            <a:ext cx="1427843" cy="338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95000"/>
              </a:lnSpc>
              <a:defRPr/>
            </a:pPr>
            <a:r>
              <a:rPr lang="es-EC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ARTÍCULO</a:t>
            </a:r>
            <a:r>
              <a:rPr lang="en-US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  11 .-</a:t>
            </a:r>
            <a:endParaRPr lang="es-ES" sz="1600" b="1" kern="0" dirty="0" smtClean="0">
              <a:solidFill>
                <a:schemeClr val="accent2"/>
              </a:solidFill>
              <a:latin typeface="Calibri" pitchFamily="34" charset="0"/>
              <a:ea typeface="+mj-ea"/>
              <a:cs typeface="+mj-cs"/>
            </a:endParaRP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</a:pPr>
            <a:endParaRPr lang="de-DE" sz="1600" dirty="0"/>
          </a:p>
        </p:txBody>
      </p:sp>
      <p:pic>
        <p:nvPicPr>
          <p:cNvPr id="10" name="Picture 3" descr="E:\servidor2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770818" y="7027242"/>
            <a:ext cx="2320567" cy="2887170"/>
          </a:xfrm>
          <a:prstGeom prst="rect">
            <a:avLst/>
          </a:prstGeom>
          <a:noFill/>
        </p:spPr>
      </p:pic>
      <p:pic>
        <p:nvPicPr>
          <p:cNvPr id="104450" name="Picture 2" descr="C:\Users\aceci\Desktop\Download\Extintores2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6" t="4167" r="3868" b="5729"/>
          <a:stretch/>
        </p:blipFill>
        <p:spPr bwMode="auto">
          <a:xfrm>
            <a:off x="7678974" y="848229"/>
            <a:ext cx="1113854" cy="1122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51" name="Picture 3" descr="C:\Users\aceci\Desktop\Download\instalacion-split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25" t="48296" r="19623" b="23657"/>
          <a:stretch/>
        </p:blipFill>
        <p:spPr bwMode="auto">
          <a:xfrm>
            <a:off x="6818628" y="4181121"/>
            <a:ext cx="2150461" cy="124772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44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44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44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1195" y="0"/>
            <a:ext cx="8515350" cy="600075"/>
          </a:xfrm>
        </p:spPr>
        <p:txBody>
          <a:bodyPr/>
          <a:lstStyle/>
          <a:p>
            <a:r>
              <a:rPr lang="es-EC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Mantenimiento de equipos</a:t>
            </a:r>
            <a:br>
              <a:rPr lang="es-EC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</a:br>
            <a:endParaRPr lang="es-EC" sz="30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n-ea"/>
              <a:cs typeface="Calibri" pitchFamily="34" charset="0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06613" y="1269247"/>
            <a:ext cx="8524875" cy="4029075"/>
          </a:xfrm>
        </p:spPr>
        <p:txBody>
          <a:bodyPr/>
          <a:lstStyle/>
          <a:p>
            <a:pPr lvl="0" algn="just">
              <a:lnSpc>
                <a:spcPct val="150000"/>
              </a:lnSpc>
            </a:pPr>
            <a:r>
              <a:rPr lang="es-EC" dirty="0" smtClean="0">
                <a:latin typeface="Calibri" pitchFamily="34" charset="0"/>
                <a:cs typeface="Calibri" pitchFamily="34" charset="0"/>
              </a:rPr>
              <a:t>Se realizará el mantenimiento del equipamiento para asegurar su disponibilidad e integridad permanentes.</a:t>
            </a:r>
          </a:p>
          <a:p>
            <a:pPr algn="just">
              <a:lnSpc>
                <a:spcPct val="150000"/>
              </a:lnSpc>
              <a:buNone/>
            </a:pPr>
            <a:r>
              <a:rPr lang="es-EC" dirty="0" smtClean="0">
                <a:latin typeface="Calibri" pitchFamily="34" charset="0"/>
                <a:cs typeface="Calibri" pitchFamily="34" charset="0"/>
              </a:rPr>
              <a:t>	A continuación se indica el período aconsejable para realizar los mantenimientos de los activos:</a:t>
            </a:r>
          </a:p>
          <a:p>
            <a:pPr algn="just"/>
            <a:endParaRPr lang="es-EC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306613" y="790363"/>
            <a:ext cx="1427843" cy="338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95000"/>
              </a:lnSpc>
              <a:defRPr/>
            </a:pPr>
            <a:r>
              <a:rPr lang="es-EC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ARTÍCULO</a:t>
            </a:r>
            <a:r>
              <a:rPr lang="en-US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  13 .-</a:t>
            </a:r>
            <a:endParaRPr lang="es-ES" sz="1600" b="1" kern="0" dirty="0" smtClean="0">
              <a:solidFill>
                <a:schemeClr val="accent2"/>
              </a:solidFill>
              <a:latin typeface="Calibri" pitchFamily="34" charset="0"/>
              <a:ea typeface="+mj-ea"/>
              <a:cs typeface="+mj-cs"/>
            </a:endParaRP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</a:pPr>
            <a:endParaRPr lang="de-DE" sz="1600" dirty="0"/>
          </a:p>
        </p:txBody>
      </p:sp>
      <p:graphicFrame>
        <p:nvGraphicFramePr>
          <p:cNvPr id="6" name="3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7986848"/>
              </p:ext>
            </p:extLst>
          </p:nvPr>
        </p:nvGraphicFramePr>
        <p:xfrm>
          <a:off x="1264427" y="3886200"/>
          <a:ext cx="6740089" cy="1485900"/>
        </p:xfrm>
        <a:graphic>
          <a:graphicData uri="http://schemas.openxmlformats.org/drawingml/2006/table">
            <a:tbl>
              <a:tblPr/>
              <a:tblGrid>
                <a:gridCol w="2490431"/>
                <a:gridCol w="2098457"/>
                <a:gridCol w="2151201"/>
              </a:tblGrid>
              <a:tr h="44835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5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Arial"/>
                        </a:rPr>
                        <a:t>EQUIPO</a:t>
                      </a:r>
                      <a:endParaRPr lang="es-EC" sz="15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s-EC" sz="15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Arial"/>
                        </a:rPr>
                        <a:t>FRECUENCIA DE MANTENIMIENTO</a:t>
                      </a:r>
                      <a:endParaRPr lang="es-EC" sz="15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s-EC" sz="15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Arial"/>
                        </a:rPr>
                        <a:t>PERSONAL AUTORIZADO</a:t>
                      </a:r>
                      <a:endParaRPr lang="es-EC" sz="15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31930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5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Servidores</a:t>
                      </a:r>
                      <a:endParaRPr lang="es-EC" sz="15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500">
                          <a:latin typeface="Calibri"/>
                          <a:ea typeface="Calibri"/>
                          <a:cs typeface="Times New Roman"/>
                        </a:rPr>
                        <a:t>3 mes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500">
                          <a:latin typeface="Calibri"/>
                          <a:ea typeface="Calibri"/>
                          <a:cs typeface="Times New Roman"/>
                        </a:rPr>
                        <a:t>Jefe de Sistema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30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5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Estaciones de trabajo</a:t>
                      </a:r>
                      <a:endParaRPr lang="es-EC" sz="15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500">
                          <a:latin typeface="Calibri"/>
                          <a:ea typeface="Calibri"/>
                          <a:cs typeface="Times New Roman"/>
                        </a:rPr>
                        <a:t>6 mes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500">
                          <a:latin typeface="Calibri"/>
                          <a:ea typeface="Calibri"/>
                          <a:cs typeface="Times New Roman"/>
                        </a:rPr>
                        <a:t>Jefe de Sistema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30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500" b="1">
                          <a:solidFill>
                            <a:srgbClr val="000000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impresoras</a:t>
                      </a:r>
                      <a:endParaRPr lang="es-EC" sz="15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500" dirty="0">
                          <a:latin typeface="Calibri"/>
                          <a:ea typeface="Calibri"/>
                          <a:cs typeface="Times New Roman"/>
                        </a:rPr>
                        <a:t>6 mese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C" sz="1500" dirty="0">
                          <a:latin typeface="Calibri"/>
                          <a:ea typeface="Calibri"/>
                          <a:cs typeface="Times New Roman"/>
                        </a:rPr>
                        <a:t>Jefe de Sistemas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498" name="Picture 2" descr="C:\Users\aceci\Desktop\Download\empresas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 bwMode="auto">
          <a:xfrm>
            <a:off x="6115517" y="4254500"/>
            <a:ext cx="2647483" cy="176498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C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Conexiones Externas 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163059" y="1112155"/>
            <a:ext cx="8524875" cy="4029075"/>
          </a:xfrm>
        </p:spPr>
        <p:txBody>
          <a:bodyPr/>
          <a:lstStyle/>
          <a:p>
            <a:pPr lvl="3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es-EC" dirty="0" smtClean="0">
                <a:latin typeface="Calibri" pitchFamily="34" charset="0"/>
                <a:cs typeface="Calibri" pitchFamily="34" charset="0"/>
              </a:rPr>
              <a:t>La conectividad a Internet será otorgada para propósitos relacionados con el negocio y mediante una autorización de la Gerencia.</a:t>
            </a:r>
          </a:p>
          <a:p>
            <a:pPr lvl="3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es-EC" dirty="0" smtClean="0">
                <a:latin typeface="Calibri" pitchFamily="34" charset="0"/>
                <a:cs typeface="Calibri" pitchFamily="34" charset="0"/>
              </a:rPr>
              <a:t>Debe asegurarse que la totalidad del tráfico entrante y saliente de la red interna, sea filtrado y controlado por un firewall prohibiendo el pasaje de todo el tráfico que no se encuentre expresamente autorizado. </a:t>
            </a:r>
          </a:p>
          <a:p>
            <a:pPr lvl="3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es-EC" dirty="0" smtClean="0">
                <a:latin typeface="Calibri" pitchFamily="34" charset="0"/>
                <a:cs typeface="Calibri" pitchFamily="34" charset="0"/>
              </a:rPr>
              <a:t>Todas las conexiones a Internet de la empresa deben traspasar un servidor Proxy una vez que han traspasado el firewall. </a:t>
            </a:r>
          </a:p>
          <a:p>
            <a:endParaRPr lang="es-EC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306613" y="641125"/>
            <a:ext cx="1427843" cy="338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95000"/>
              </a:lnSpc>
              <a:defRPr/>
            </a:pPr>
            <a:r>
              <a:rPr lang="es-EC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ARTÍCULO</a:t>
            </a:r>
            <a:r>
              <a:rPr lang="en-US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  15 .-</a:t>
            </a:r>
            <a:endParaRPr lang="es-ES" sz="1600" b="1" kern="0" dirty="0" smtClean="0">
              <a:solidFill>
                <a:schemeClr val="accent2"/>
              </a:solidFill>
              <a:latin typeface="Calibri" pitchFamily="34" charset="0"/>
              <a:ea typeface="+mj-ea"/>
              <a:cs typeface="+mj-cs"/>
            </a:endParaRP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</a:pPr>
            <a:endParaRPr lang="de-DE" sz="1600" dirty="0"/>
          </a:p>
        </p:txBody>
      </p:sp>
      <p:grpSp>
        <p:nvGrpSpPr>
          <p:cNvPr id="4" name="3 Grupo"/>
          <p:cNvGrpSpPr/>
          <p:nvPr/>
        </p:nvGrpSpPr>
        <p:grpSpPr>
          <a:xfrm>
            <a:off x="5190846" y="4646646"/>
            <a:ext cx="1576928" cy="1472199"/>
            <a:chOff x="4430589" y="4486512"/>
            <a:chExt cx="2232139" cy="1941739"/>
          </a:xfrm>
        </p:grpSpPr>
        <p:pic>
          <p:nvPicPr>
            <p:cNvPr id="6" name="Picture 1" descr="E:\N001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430589" y="4486512"/>
              <a:ext cx="1941739" cy="1941739"/>
            </a:xfrm>
            <a:prstGeom prst="rect">
              <a:avLst/>
            </a:prstGeom>
            <a:noFill/>
          </p:spPr>
        </p:pic>
        <p:pic>
          <p:nvPicPr>
            <p:cNvPr id="7" name="32 Imagen" descr="MyComputer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276634" y="4979294"/>
              <a:ext cx="1386094" cy="1386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10649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10649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06613" y="1170216"/>
            <a:ext cx="8524875" cy="804409"/>
          </a:xfrm>
        </p:spPr>
        <p:txBody>
          <a:bodyPr/>
          <a:lstStyle/>
          <a:p>
            <a:pPr marL="0" indent="0" algn="just">
              <a:buNone/>
            </a:pPr>
            <a:r>
              <a:rPr lang="es-EC" dirty="0" smtClean="0">
                <a:latin typeface="Calibri" pitchFamily="34" charset="0"/>
                <a:cs typeface="Calibri" pitchFamily="34" charset="0"/>
              </a:rPr>
              <a:t>El uso de los recursos para actividades no relacionadas con la parte operativa.</a:t>
            </a:r>
          </a:p>
          <a:p>
            <a:pPr algn="just"/>
            <a:endParaRPr lang="es-ES" dirty="0">
              <a:latin typeface="Calibri" pitchFamily="34" charset="0"/>
              <a:cs typeface="Calibri" pitchFamily="34" charset="0"/>
            </a:endParaRPr>
          </a:p>
          <a:p>
            <a:pPr algn="just"/>
            <a:endParaRPr lang="es-ES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C" sz="30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Queda Prohibido</a:t>
            </a:r>
            <a:endParaRPr lang="es-EC" sz="3000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n-ea"/>
              <a:cs typeface="Calibri" pitchFamily="34" charset="0"/>
            </a:endParaRPr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306613" y="641125"/>
            <a:ext cx="1427843" cy="338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95000"/>
              </a:lnSpc>
              <a:defRPr/>
            </a:pPr>
            <a:r>
              <a:rPr lang="es-EC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ARTÍCULO</a:t>
            </a:r>
            <a:r>
              <a:rPr lang="en-US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  17 .-</a:t>
            </a:r>
            <a:endParaRPr lang="es-ES" sz="1600" b="1" kern="0" dirty="0" smtClean="0">
              <a:solidFill>
                <a:schemeClr val="accent2"/>
              </a:solidFill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306613" y="2974147"/>
            <a:ext cx="1427843" cy="338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95000"/>
              </a:lnSpc>
              <a:defRPr/>
            </a:pPr>
            <a:r>
              <a:rPr lang="es-EC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ARTÍCULO</a:t>
            </a:r>
            <a:r>
              <a:rPr lang="en-US" sz="1600" b="1" kern="0" dirty="0" smtClean="0">
                <a:solidFill>
                  <a:schemeClr val="accent2"/>
                </a:solidFill>
                <a:latin typeface="Calibri" pitchFamily="34" charset="0"/>
                <a:ea typeface="+mj-ea"/>
                <a:cs typeface="+mj-cs"/>
              </a:rPr>
              <a:t>  19 .-</a:t>
            </a:r>
            <a:endParaRPr lang="es-ES" sz="1600" b="1" kern="0" dirty="0" smtClean="0">
              <a:solidFill>
                <a:schemeClr val="accent2"/>
              </a:solidFill>
              <a:latin typeface="Calibri" pitchFamily="34" charset="0"/>
              <a:ea typeface="+mj-ea"/>
              <a:cs typeface="+mj-cs"/>
            </a:endParaRPr>
          </a:p>
          <a:p>
            <a:pPr marL="190500" indent="-190500" eaLnBrk="1" hangingPunct="1">
              <a:spcBef>
                <a:spcPct val="40000"/>
              </a:spcBef>
              <a:buClr>
                <a:schemeClr val="accent1"/>
              </a:buClr>
            </a:pPr>
            <a:endParaRPr lang="de-DE" sz="1600" dirty="0"/>
          </a:p>
        </p:txBody>
      </p:sp>
      <p:sp>
        <p:nvSpPr>
          <p:cNvPr id="9" name="2 Marcador de contenido"/>
          <p:cNvSpPr txBox="1">
            <a:spLocks/>
          </p:cNvSpPr>
          <p:nvPr/>
        </p:nvSpPr>
        <p:spPr bwMode="auto">
          <a:xfrm>
            <a:off x="306611" y="3387258"/>
            <a:ext cx="8524875" cy="1572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000" indent="-18891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-"/>
              <a:defRPr sz="2800">
                <a:solidFill>
                  <a:schemeClr val="tx1"/>
                </a:solidFill>
                <a:latin typeface="+mn-lt"/>
              </a:defRPr>
            </a:lvl2pPr>
            <a:lvl3pPr marL="561975" indent="-179388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-"/>
              <a:defRPr sz="2400">
                <a:solidFill>
                  <a:schemeClr val="tx1"/>
                </a:solidFill>
                <a:latin typeface="+mn-lt"/>
              </a:defRPr>
            </a:lvl3pPr>
            <a:lvl4pPr marL="752475" indent="-18891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-"/>
              <a:defRPr sz="2000">
                <a:solidFill>
                  <a:schemeClr val="tx1"/>
                </a:solidFill>
                <a:latin typeface="+mn-lt"/>
              </a:defRPr>
            </a:lvl4pPr>
            <a:lvl5pPr marL="9620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14192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6pPr>
            <a:lvl7pPr marL="18764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7pPr>
            <a:lvl8pPr marL="23336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8pPr>
            <a:lvl9pPr marL="27908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just">
              <a:buNone/>
            </a:pPr>
            <a:r>
              <a:rPr lang="es-EC" dirty="0">
                <a:latin typeface="Calibri" pitchFamily="34" charset="0"/>
                <a:cs typeface="Calibri" pitchFamily="34" charset="0"/>
              </a:rPr>
              <a:t>Introducir voluntariamente programas, virus, </a:t>
            </a:r>
            <a:r>
              <a:rPr lang="es-EC" dirty="0" smtClean="0">
                <a:latin typeface="Calibri" pitchFamily="34" charset="0"/>
                <a:cs typeface="Calibri" pitchFamily="34" charset="0"/>
              </a:rPr>
              <a:t>Applets</a:t>
            </a:r>
            <a:r>
              <a:rPr lang="es-EC" dirty="0">
                <a:latin typeface="Calibri" pitchFamily="34" charset="0"/>
                <a:cs typeface="Calibri" pitchFamily="34" charset="0"/>
              </a:rPr>
              <a:t>, controles ActiveX o cualquier otro dispositivo lógico o secuencia de caracteres que causen o sean susceptibles de causar cualquier tipo de alteración o daño en los Recursos Informáticos.</a:t>
            </a:r>
            <a:endParaRPr lang="es-ES" dirty="0">
              <a:latin typeface="Calibri" pitchFamily="34" charset="0"/>
              <a:cs typeface="Calibri" pitchFamily="34" charset="0"/>
            </a:endParaRPr>
          </a:p>
          <a:p>
            <a:pPr algn="just"/>
            <a:endParaRPr lang="es-ES" dirty="0" smtClean="0">
              <a:latin typeface="Calibri" pitchFamily="34" charset="0"/>
              <a:cs typeface="Calibri" pitchFamily="34" charset="0"/>
            </a:endParaRPr>
          </a:p>
          <a:p>
            <a:pPr algn="just"/>
            <a:endParaRPr lang="es-ES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5474" name="Picture 2" descr="C:\Users\aceci\Desktop\Download\20delitos_ciber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25" t="9300" r="6335" b="9951"/>
          <a:stretch/>
        </p:blipFill>
        <p:spPr bwMode="auto">
          <a:xfrm>
            <a:off x="2871150" y="1647645"/>
            <a:ext cx="1784950" cy="114089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76" name="Picture 4" descr="C:\Users\aceci\Desktop\Download\mujer-laptop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9900" y="1647645"/>
            <a:ext cx="1262504" cy="114089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79" name="Picture 7" descr="C:\Users\aceci\Desktop\Download\almaaa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4630" y="4417809"/>
            <a:ext cx="818456" cy="82464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80" name="Picture 8" descr="C:\Users\aceci\Desktop\Download\westerndigitalcaviargreen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2948" y="4381346"/>
            <a:ext cx="961682" cy="89757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82" name="Picture 10" descr="C:\Users\aceci\Desktop\Download\images (1)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2430" y="5242450"/>
            <a:ext cx="4229100" cy="86677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8608443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05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2000"/>
                                        <p:tgtEl>
                                          <p:spTgt spid="1054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54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5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5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28" name="Picture 4" descr="http://www.zuiso.ec/zuiso/images/capacitacion-desarr.jpg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colorTemperature colorTemp="5900"/>
                    </a14:imgEffect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025" y="1562979"/>
            <a:ext cx="5711596" cy="380773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2 Marcador de contenido"/>
          <p:cNvSpPr txBox="1">
            <a:spLocks/>
          </p:cNvSpPr>
          <p:nvPr/>
        </p:nvSpPr>
        <p:spPr bwMode="auto">
          <a:xfrm>
            <a:off x="612164" y="2327924"/>
            <a:ext cx="7786248" cy="38915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>
            <a:lvl1pPr marL="190500" indent="-19050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1000" indent="-18891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-"/>
              <a:defRPr sz="2800">
                <a:solidFill>
                  <a:schemeClr val="tx1"/>
                </a:solidFill>
                <a:latin typeface="+mn-lt"/>
              </a:defRPr>
            </a:lvl2pPr>
            <a:lvl3pPr marL="561975" indent="-179388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-"/>
              <a:defRPr sz="2400">
                <a:solidFill>
                  <a:schemeClr val="tx1"/>
                </a:solidFill>
                <a:latin typeface="+mn-lt"/>
              </a:defRPr>
            </a:lvl3pPr>
            <a:lvl4pPr marL="752475" indent="-18891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-"/>
              <a:defRPr sz="2000">
                <a:solidFill>
                  <a:schemeClr val="tx1"/>
                </a:solidFill>
                <a:latin typeface="+mn-lt"/>
              </a:defRPr>
            </a:lvl4pPr>
            <a:lvl5pPr marL="9620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5pPr>
            <a:lvl6pPr marL="14192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6pPr>
            <a:lvl7pPr marL="18764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7pPr>
            <a:lvl8pPr marL="23336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8pPr>
            <a:lvl9pPr marL="2790825" indent="-207963" algn="l" rtl="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just"/>
            <a:r>
              <a:rPr lang="es-EC" dirty="0" smtClean="0">
                <a:latin typeface="Calibri" pitchFamily="34" charset="0"/>
                <a:cs typeface="Calibri" pitchFamily="34" charset="0"/>
              </a:rPr>
              <a:t>Los empleados en general, los usuarios externos e internos deben recibir una adecuada capacitación y actualización periódica, para el adecuado manejo de los equipos.</a:t>
            </a:r>
          </a:p>
          <a:p>
            <a:pPr algn="just"/>
            <a:r>
              <a:rPr lang="es-EC" dirty="0" smtClean="0">
                <a:latin typeface="Calibri" pitchFamily="34" charset="0"/>
                <a:cs typeface="Calibri" pitchFamily="34" charset="0"/>
              </a:rPr>
              <a:t>El </a:t>
            </a:r>
            <a:r>
              <a:rPr lang="es-EC" dirty="0">
                <a:latin typeface="Calibri" pitchFamily="34" charset="0"/>
                <a:cs typeface="Calibri" pitchFamily="34" charset="0"/>
              </a:rPr>
              <a:t>responsable del área de Recursos Humanos </a:t>
            </a:r>
            <a:r>
              <a:rPr lang="es-EC" dirty="0" smtClean="0">
                <a:latin typeface="Calibri" pitchFamily="34" charset="0"/>
                <a:cs typeface="Calibri" pitchFamily="34" charset="0"/>
              </a:rPr>
              <a:t>coordinará las capacitaciones. </a:t>
            </a:r>
            <a:endParaRPr lang="es-ES" dirty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es-EC" dirty="0">
                <a:latin typeface="Calibri" pitchFamily="34" charset="0"/>
                <a:cs typeface="Calibri" pitchFamily="34" charset="0"/>
              </a:rPr>
              <a:t>Cada 6 meses se revisará el material correspondiente a la </a:t>
            </a:r>
            <a:r>
              <a:rPr lang="es-EC" dirty="0" smtClean="0">
                <a:latin typeface="Calibri" pitchFamily="34" charset="0"/>
                <a:cs typeface="Calibri" pitchFamily="34" charset="0"/>
              </a:rPr>
              <a:t>capacitación. </a:t>
            </a:r>
          </a:p>
          <a:p>
            <a:pPr algn="just"/>
            <a:r>
              <a:rPr lang="es-EC" dirty="0" smtClean="0">
                <a:latin typeface="Calibri" pitchFamily="34" charset="0"/>
                <a:cs typeface="Calibri" pitchFamily="34" charset="0"/>
              </a:rPr>
              <a:t>El personal externo recibirá el material, donde indicará el comportamiento esperado, </a:t>
            </a:r>
            <a:r>
              <a:rPr lang="es-EC" dirty="0">
                <a:latin typeface="Calibri" pitchFamily="34" charset="0"/>
                <a:cs typeface="Calibri" pitchFamily="34" charset="0"/>
              </a:rPr>
              <a:t>antes de serle otorgados los privilegios de acceso a los sistemas que correspondan. </a:t>
            </a:r>
            <a:endParaRPr lang="es-EC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198376" y="612492"/>
            <a:ext cx="8524875" cy="1134710"/>
          </a:xfrm>
        </p:spPr>
        <p:txBody>
          <a:bodyPr/>
          <a:lstStyle/>
          <a:p>
            <a:pPr marL="0" indent="0" algn="just">
              <a:buNone/>
            </a:pPr>
            <a:r>
              <a:rPr lang="es-EC" dirty="0" smtClean="0">
                <a:latin typeface="Calibri" pitchFamily="34" charset="0"/>
                <a:cs typeface="Calibri" pitchFamily="34" charset="0"/>
              </a:rPr>
              <a:t>Para la implantación de la políticas de seguridad de la información, es necesario el compromiso de la organización y de la máximas autoridades, para asegurar la difusión, consolidación y cumplimiento de estas políticas de seguridad.</a:t>
            </a:r>
            <a:endParaRPr lang="es-ES" dirty="0">
              <a:latin typeface="Calibri" pitchFamily="34" charset="0"/>
              <a:cs typeface="Calibri" pitchFamily="34" charset="0"/>
            </a:endParaRPr>
          </a:p>
          <a:p>
            <a:pPr algn="just"/>
            <a:endParaRPr lang="es-EC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1 Título"/>
          <p:cNvSpPr txBox="1">
            <a:spLocks/>
          </p:cNvSpPr>
          <p:nvPr/>
        </p:nvSpPr>
        <p:spPr bwMode="auto">
          <a:xfrm>
            <a:off x="198376" y="12417"/>
            <a:ext cx="851535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scene3d>
              <a:camera prst="orthographicFront"/>
              <a:lightRig rig="soft" dir="t">
                <a:rot lat="0" lon="0" rev="10800000"/>
              </a:lightRig>
            </a:scene3d>
            <a:sp3d>
              <a:contourClr>
                <a:srgbClr val="DDDDDD"/>
              </a:contourClr>
            </a:sp3d>
          </a:bodyPr>
          <a:lstStyle>
            <a:lvl1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 i="1" u="none" cap="none" spc="15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 pitchFamily="34" charset="0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5pPr>
            <a:lvl6pPr marL="4572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6pPr>
            <a:lvl7pPr marL="9144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7pPr>
            <a:lvl8pPr marL="13716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8pPr>
            <a:lvl9pPr marL="18288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9pPr>
          </a:lstStyle>
          <a:p>
            <a:r>
              <a:rPr lang="es-EC" cap="all" dirty="0" smtClean="0"/>
              <a:t> </a:t>
            </a:r>
            <a:r>
              <a:rPr lang="es-EC" sz="3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Formación y concienciación</a:t>
            </a:r>
            <a:br>
              <a:rPr lang="es-EC" sz="3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</a:br>
            <a:endParaRPr lang="es-EC" sz="3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n-ea"/>
              <a:cs typeface="Calibri" pitchFamily="34" charset="0"/>
            </a:endParaRPr>
          </a:p>
        </p:txBody>
      </p:sp>
      <p:sp>
        <p:nvSpPr>
          <p:cNvPr id="6" name="1 Título"/>
          <p:cNvSpPr txBox="1">
            <a:spLocks/>
          </p:cNvSpPr>
          <p:nvPr/>
        </p:nvSpPr>
        <p:spPr bwMode="auto">
          <a:xfrm>
            <a:off x="198376" y="1740399"/>
            <a:ext cx="851535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  <a:scene3d>
              <a:camera prst="orthographicFront"/>
              <a:lightRig rig="soft" dir="t">
                <a:rot lat="0" lon="0" rev="10800000"/>
              </a:lightRig>
            </a:scene3d>
            <a:sp3d>
              <a:contourClr>
                <a:srgbClr val="DDDDDD"/>
              </a:contourClr>
            </a:sp3d>
          </a:bodyPr>
          <a:lstStyle>
            <a:lvl1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 i="1" u="none" cap="none" spc="15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Calibri" pitchFamily="34" charset="0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2pPr>
            <a:lvl3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3pPr>
            <a:lvl4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4pPr>
            <a:lvl5pPr algn="l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5pPr>
            <a:lvl6pPr marL="4572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6pPr>
            <a:lvl7pPr marL="9144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7pPr>
            <a:lvl8pPr marL="13716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8pPr>
            <a:lvl9pPr marL="1828800"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Arial" charset="0"/>
              </a:defRPr>
            </a:lvl9pPr>
          </a:lstStyle>
          <a:p>
            <a:r>
              <a:rPr lang="es-EC" dirty="0" smtClean="0">
                <a:solidFill>
                  <a:schemeClr val="accent6">
                    <a:lumMod val="75000"/>
                  </a:schemeClr>
                </a:solidFill>
              </a:rPr>
              <a:t>Capacitación</a:t>
            </a:r>
            <a:br>
              <a:rPr lang="es-EC" dirty="0" smtClean="0">
                <a:solidFill>
                  <a:schemeClr val="accent6">
                    <a:lumMod val="75000"/>
                  </a:schemeClr>
                </a:solidFill>
              </a:rPr>
            </a:br>
            <a:endParaRPr lang="es-EC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" name="AutoShape 2" descr="data:image/jpg;base64,/9j/4AAQSkZJRgABAQAAAQABAAD/2wCEAAkGBhIQERQUEhQUFBQWEBcUFRUVGBcUFxUUFRUVFBUVFBcYHCYeFxkjGRUUHy8gIycpLCwsFR4xNTAqNSYrLCkBCQoKDgwOFw8PGCwcHCQsKSkpKSksLCwpKSkpLCkpKSkpKSksKSwsKSksKSwpKSkpKSksKSksKSkpLCwpLCkpKf/AABEIALcBEwMBIgACEQEDEQH/xAAcAAAABwEBAAAAAAAAAAAAAAAAAQIDBAUGBwj/xAA+EAABAwIEBAQDBwIFAwUAAAABAAIDBBEFEiExBkFRYRMicYEHMpEUQlKhscHRI/AzU2Jy4RWS8QgWJUOy/8QAGgEAAgMBAQAAAAAAAAAAAAAAAAECAwQFBv/EACgRAAICAgMAAgAFBQAAAAAAAAABAhEDIQQSMSJBFDJRcYETI0Jhkf/aAAwDAQACEQMRAD8A7FDJclKYLOKayZCSdkpklyrSokpTEgJbVBkxabn2TiS8aJARxuE+FHun1ISEVTNFkqibJKWnY7FbGUaLK41ALknkCT7C6X0RkjO8X8TfY425bF772J1DQNzbmVx/F+IJZnEuc5zr7k7eysuJ8afWyki4AOVoHID91IwDgSepbfVgvbM4fmBzWGeRXbOniwtKo/8ATLsqySQddPMRtfklPZLoRmII1sTp29F1OH4XRMAuS421NrXPVSpOF44hoNFRLkJeI1w4t+yMjwn8SJ6V7Y5yZYjYOB3aNg5p7BdxwupjmibLE4PY8Zmu6j+VwLjbBhE5sjNAd+l11b4NkPwxnmzESvuPwbeX9/dbMM+ytHP5GLoza5UdkrKhZaDGEEYQR2QAYQQQQASBRlEgBJCrKptiVakKFWxG+yAZCshZSGUjjyTrMPPMqREhZUYCsW0LRulWY3ogCubETyTraJ3opRqmhJFWTs0oAQ3D+pTraRoRlsjuyU2kPNyABlb2QSvsbe6CBkmWIOFioIiMbtdirFJewHdJOiTVjTSlhJyWSgmA4gUAUCojIzmp0bBIOhKU3ZSIjltFmuJKRz4pWsNnGJ4BHXKVpWqFVgBRH/s878GOBq2B1iRIQb9df4Xa6RoGgGi5DxFgE1Fioe1hEMk4exw+Wzjr6aromOY7JACIwb67MMhJAvoByXKyxqZ2sUu2MvJGaqqxarhjb/Vka3oDuqLBsXrZpWiTRp82bKBYHkRyKicVcPyS1As8jbz2ube6g6umaFFhY7SR1cLmMzXILoyRa5A2F1ZfAnCjHFUOc513PaMn3QADrb8XL2SqPAhC3OXPc6w3J3HO2wWh4FjDZZsp8r8rsvQ63I9bq/jzqXVGblY7g5M2JjCbMSeRroHHGPCKPwinkEBQ14SSY0654G6IOFr8kANhqWI0RkARGbsmA5kCbmAAukl5PZJc2++qKEM/aByugC87CyeDgOiamr42fM5o9SFIjQn7K47u+iDcPbzJKY/62w/IHyf7Gkj6nRH49Q/5Yms7vdc/RqLHSJjadrdgEpzw3cgeuihjDpnfPMR2jaG/mUqPAYR8wLz1e4u/4SsdCZMZiGmbMejQXH8kQr5HfJC893kMH56qxip2t+VoHoAE4ixlXlqTyiHa7kFaIJWFARI0SABZJISkEAEEaACCAGZhqo1PMcxB5KXM3mowFiVJEH6S2FR6tvVLD0U+oSJPwzmO4V9ohMegIcC09LG6agtq1240KtpWHMLdVQ8T0piAe0kNecp/0lYeVj/zR0OHmv8Atv8AgENVHd2UeVp1I5nt1VZi+MsOWzHE9NimcNgmv/TMZiG4sc/q25sb909Utk1JYc3LM9kbT6lt3eyyRVo6qpMgTYw8WYfvbNPzdyFseAg0xyG3nEmUn/Ta4/dYKSmax5lIaJHaEt1AA5AnvzW8+HtG5sL5HaeI+49BpdXcePzMvNdY6NWjSHOsElswK6Jxh1BNeOE1LWtadSAnQnJCMSeA25TE8t4Ljks/xXjjXNytdqFCwzGHOgIvzsVLo6Kf6is2EFWCxp7KNUY7Czd7b9Abn6BM0vDcTmguL3ggGznG2o6DRWUGFxR/Kxo9AEi0q/8Arjn/AOFDK/uRkH1clNjrJP8AKiHu938K8DUYCAKhvD7nf4s0juwOQfkpcGCQs2jbfqfMfqVOuhdIdBBgCOyNBIYESNBABIIIFABoJvxQggBaJGgExAQCCAQAESNEEAE/ZV877EeqsXBQKkae6kiMhRKIyJIKDmqKG/BmTcKqrcXp5ZZaSchoIaGvOnnte1+RFwpWNYkKaMyGxt8rSbZnchfouS1+K+K9xcPO4km568gozf0SxR3ZuG4LLROObzRk6SN1FuWboUzXCA+Yn81R4Bx1U0tmSDx4dsjj5mj/AEE7jsVtKXBKCtaJ42BwO4F22dzDm8is34ZS/KzpQ5jh+dWZHyyOAbsF07hytbNTxuaLADLboW+U/osxW8HtaHOptH2No3HyuPIA8kngjieliifTSS5JoDaZsgLcr3HWx2c25tdWYsMoN2VcnNHKk0zbVA0USnepRla9t2kOFtwQR+ShNFlcvTBIFe0jULJ4hKZXEXIIW1mGZqoqmkZ7qadFclZz+bCJnScyOq0+BYI5rSHcwlSGSJ97XbdW9HViQab22VryOqRSoJOy6w7SNo6C30UpVmDhwBDvxaKzVLNK8AjRIIGKQRJM0wY0uOwFzbVIY4jSI5A4AjUEXSkgDQRIIGAlNgX9On8o9z2H6paAAgmJKixsgnQrHkazfCHHEGJRl8ZLXN0ex27f+Fo2uvshgGghdFdABokaJABqJXRaXClKPVO0TQmQ2PvZVuPcTR0vl+eUjRg+70Lzy9EXEOM/ZYjIAC/5WA/iPM+m65dLUvkcXOcSSbk9SodtskokvGcakncXSOueQGzewCztWzN+ylynqe6gyv6pFgKSrNiCdtFa4PjctHL4kLt/mafleOjh17qge3W40PX+U5DI1xsdHfkR1CVV4Su/Tu+A8Sw1cJkboWC8jD8zLC5v200K5BVVsdQ+SsAGYmXMQPmYSQGuH0UWgxGWncXRutmYWOG4cx27SOeiVh9PGwSGJugla7IdjFazm99yt3HalaZlypx2HSYtLT2fTyvYD90HTXtsQthgvxQfYNqY81vvMs1x9RsVjq/D/Bd5dYn6s/06XLVXuBHpy/dZZRcJUyxVNWeg8CxeGrhEkTszb2PJzXDdrhyIVZxA1sZDiSPRct4S4sNBVNe4nwZSGTj/APMnqD+S7fNRxzAEgOFrg7gg7FCZBxMc7iHSzY3ORUTqlzwWxZRfotpFQRt2Y0ewUgNsnYupUUVLK15c86Ebd1ao5BokMOiCQtBEjCADSJ4Q9pa7Y78ksJVkhkagsG5RplJb9FJTLTZ5HUZh+hTyQICZq2OLCG/Nby32uNRdPIIGR6dziBcZT9715gKQgkSvytJ6AlAMhOjLiT3P5GyCl00dmjrbX1OpQUrI0eTeF+IZaOoa+NxFzZw5FvddwrfieIomiBmd2XVztACenVeeoW+e/ddA8AmmjfffT0KolNrRshjUlsk47xZXVDtZXi5uGt8rQPZR48WqGgAzykjnmcfokySFjdLHTU/x0VAauQEkO7WOqXZi6pGtGPVoOaKqnaejtQfS61nD/wATahgDKlgkH+Z8rj/uG11znD55j3/butphLRI0BwF7b9SouUlsmoRl6dVwrGY6ht26Hm07hPzrJ4HXsa5rXANc02DhzHQrVv5K2GRSVoz5MTg6ZzL4i4o3xmxk2DG3IG5LrH+FkmTufsMrVOx6QS1kznXJ8U2HYaKK+oA0skhpDUreaq6l2qspZLg23tp6qmMl9SmAIJdcp9vRHLF/wehUSpdl1HLX25qcyQOAI5piDjm5O3/XuO6l0tV4bgd+o6hQyy4sf79ETXkaH2PUfynFuLtA0mqZont8SFzBq354yd2ka5T+ips2YA8iNex2UjCq4NOV23I9EwQGySR9Dmb6O6LZnayQU1/JmxxcJOJGnhzMc072/wDBXYvhLxK2po2xOd/WhGUtO5ZfyuHUcvZcktY3+qmcE1ToMShDXZbzt1JsMj9HA+qxl7PRKCARpkRNkww7jupCYd8x7hNCYsI0i6UEwFBHdEjCQDU5sWnvb2KdLgN1FxGRoZY632HprdUWJV5IJLv2CrnNRL8WGWRmjdVMG7goX/X4fEbGHXc42AHpfVYihm8V7myTua07Bjbm3c8lqcCw6kguY35nkaue67rdr7eyqjlc/KSNOTjxxJ3bf7aL9MVx8turgPqUzR4xFKCWu2JGvbmE7G3O4OOw+Ufue60Jp7MMotaZIsgjQQI8d0MNzcjRdVZgv/xZ65cw7WWW4UwQSvFx5R+a6dC1rmiM6MA19Asc8iujqY8bUbOTSRXYPNy573UemgubHfqhiTmuqZgw+XxXZRysDyUvD6Z5NyNv0VyMz9NLgcILA1w9D0Nt1OoZg032Ifb1UaB9rAG/k5KUYw2xtfygn6ofgRVsvQ8OAK1+A1ZfHrqW7+lrhYZ5ysYBrz+q0XC9ZldYmwcMp/ZZ8cqyUas2Pti/Y57M/O5zhze4/mVEfGFJrYTBLLE7QtlcPa9wfcWUc019itRgQy4KsxCAi7m+46q3MBTEsOmosgCge/M3RN4PU6lh+6beyfqYMpuNiojKZzZg7KbObYnumRLhpQljBFj/AOO4QdERv/ZRE2TAYZMQ7KfmGoP4h1H7qRiFZ5oZBzvG713CYqqfOBY2c03aeh/hQppTJE9uzhYkdHN1BHYqyEqtfqQkvsuJh02J/uyiYh5Sxw0t5f3Ccpp/Fha4b2B/kIq1uaJ3W1/caqskdG4C+KeUx01YTZxDI5j12ayQ99gV1m68ix1klrZLjoSPa3Rdk+HXxZfPIymrGZXOs2OYbOIGjXjkT1TItHV1HqNCD7J+6h1dXHfJnbn3y5hm+ikhDoSwsXxD8TKeleY4wZ5Bo7KQGNPQu5n0WOxP4kVk1w1whaeTBrb/AHFDYJHUcZ4opqQf1ZAHcmDzOPsFg8Z+J80l2wNELdsx1f8Aw1YGSpJJN7km5cdST3JTTpeqjZNROscLY19ppgC4ukZ5Xkm5J3Bumayke91ibN68/oudYHj7qSXOPlOjx1b19l0GjxkSavaQbX1FjY7GxWLMnZ1eLJdSWykZC241/VR563K4EaB3lv0PIIp6hupFz5bDseV1KoeG3SNDZrhujr3s7MNbgctVVGEm9I0zyRhG5Mm4Jw+5zHF7st3EtIAJI/ZXGG4D4MmfxXuFrZTYD1Kk0xaxoa0Gw+qktluuhHFGKRxcmecm96Y7dBCyCsM5514PqzY6WC2UEhJtyIsVUUGGtYdBYBW8RF9FwJz7T7I9NGCUerMhW8OtgqbkWYbubb9FeSUkTGuYNDYOv0zDUK5rY2ujzOF8uypo35mXI1cRf0Gy6mKXaNnKzQ6zpEWGhLO4sT/CuqeBpAdcat59lR4piLjI2FmjpJGsv0B3P0UrFbiWKFv+Fkfm6nJoDfuVGeSpUX4sDlG0HiGPQRPLTI0ZdLdEyONYGtc2MukcRZoaxzrk6WCapMEjzFxY2+9zrqrmjgZoMoGtxlFrW5hUSlHtZojCfSigx6sZ40cYEuURsY+SRhY8EjVzwdTb9AFFqj4dwHZrEgOH3gNit9/7VjrhJ4sh8fM54dfzOFrNB5EAhYGqpnZ8rtC3Rw6EaLemmk0ceUXGTTGIq5xI0NuqarKy5sPU35Dun8QqhCwAaucQ1g/c+ioKqTNpfu49SqnLdFsYatkp+INtpc+35qvkxQuB8x6JiQZNAbl39/ROMjaBYa2+Z3Q9G/ym5EeoulxNzHeW7nHcu2AVh9vzDUgkbjYE9B3WfnJB/vRJZLp2upKRBo0rHggOabg/UHoVBxKMt/qN3b8w/Ezn781Hwyqs8jkTsrSQJxlehSjSshYFMPOwG7fmb/td/BVm3mO1lnqBpgqch+V18v62WgJUyBn8u4J2JT9DLlc0t0IcHX1vob/smayPLK7fU3+qFza3M6D9ygDplX8bKqRjhFHHEMuQOJLnA7ZmnqsRDXPcXPc9znvdcvJJcT1zbqpOug+UaDueZUyE2sOgQFE+J/X1TpnuoPjJQlQMlGVNOkTIeSpFNRvkOVjXSO6NH6nZAWNl99N78uy6BwXiD52wsJzPjZJA65uQ0HPHm9tFD4f+G75DepLmMt8kZs49nP3+i3tDw3DSNj8CJsQEzcxG7g4ZbvcdXe6nGO9kWyRDh+Z7Q4eVvmPR7/uj/aN/Wyu2RFIaY2fM9t/W/wCQTsVYDfKx5sbbW/VMjY6yJPNZZMse8n5ABbcnW/oncruoHoEhDl0FGNGT/wDY/wDJEgDkjJLuNtlLp23KrKcqwp5NfdeYXp6qWhOMVXkMYP3blZcYt5Gjq2x9iix+veJpWnS3LtyVRHXhzbAC/wCl13ca6wSOLkk5TJFVXn7TTS8myAOPLXRX1bi5ZPFmH9M52ufa+Uk3bfoDdVNdQl0I01525d1YYDiTXC0g8wAab6h1tj6rJN9nZ2cMKh1L+SMBuiOnJFiiDxbTZHAbqkl9UaOmgdIY3MFsjrude1gRtbndZb4kRwxVIcw3c5rfFjb913U9Lhbzh6HNALfjv9Fzj4p08lLNI8NuybzB55G2rSeViuml1xqjgzl3ytP6MxUVeZ+WQgBwIDbC7CR5S0rPQOcQQRq02JOgT1PO+W7y3Rpa3Ofla4/KCep6KpxOKWKodFM0scJPOwnYqtQeyTmkWcVLfzE3J3PIeiU4E/6WD2v6I4ZwGXtmPTkLdSockrpDcnf2HsFHdjdUSZGNf8vyj8z3UCRljca9P5U+Ihot/ZTRizHTbr+wTv7I1Y3TCz2/mrsXDWl2mZuYdxfRRcOw0yPNhrb6DmSrrHGtb4bBrlj5+tkoT+dEp4/g2ZvGm2yyDdjgfa+quIpMwB6i6hzsDmkdrapnA5iWEE/KcoB6LWYxOL6PafxNt9Co7RbM4nW1vQLY8O8Mx4lMYDIYpMjnROADhnaLlrx0IKj4p8LMRgcWGF0gJ0fF5wR+rfdAGUpvl/RPtetlQfCLEJLZo2Qt6yvaLD0BJWrwb4Ixn/Hqs/VkIDfq4kn8kCOTNudlosG4OqKjUNyt/E7T6LrFZwBRU3gmGFosSCTdxN9QXX3KsaehHT9lJRF2MThXw5jbbxDm7Dn6lbPDMAZEAGMDR2CtIKUDkpscSkRI8NIApBpmuBDgCDuCnQEsBADcVO1vytA9AE6hZBIAIIIIACCLMEEDODx1YVlTSbf39FAxXhWrpY/FfHZlwNCCbnbRRcKxCQytbl9A7S57XXEXGkn4eieeDWmZDFMYMsshdYOc8kdrEgBymcPYW6Rxdy/Val3w9qTI+WWB1nuLvKAdCb8lZ0eF+HoBl7EWK05sriqozcfApPs3Y1T0vZSYqKJlzlF1I+zlQau4BWCM2dOhuStFzZPUlRc6KnlicNVLwo2cLq1Ck0kdZ4Vcz7M3Xmb+t1D424hhpaf+pB9oDt4/L8uxd5tBZUvBGKHx3RH5XAkdiOa1WO4JBVxGOUAgtIB5jNvZdNSlLF8PTz2SChm+fh5j4gxYlrIB/Thike8RgWOZxuHSO++6xsDyAVXXzh7c+5du4kl1x1v6LsXG/wAGInQNfRl/iRtOdrjcyNHMdHDouOx0wvkcXaG5B5WT3q/R3F318JOHyCQXkcSBsNtPQJb5bm4Fhy/lIopS0Fgy6E8k+1o+8efu49h0VM/ScfBVNTZiC72/cqYYnm3hxktOgdy9lN4Rj8SsyyAWyHIOV7cu60eDU7mRyRyR5MkhEXRzDroeeqolk6vZthgTjdjmA0rY4wC0Bx1d1JO11JxmgY6POWjMzW9t28wmoInb3TtdVlsTid3DK0fqVRik3ltF+WMVipmeLWE/K3XlYa9ynXxNHJv0CgOqsvdIkqSd12ThFnT1XhkFnlI1BZ5SD2IXReAMWlmgqQ+R7i2xaXG5FxqAVyeN5XSvhg/LS1bz/eVhJTWxP1F8wl2pJO2/oluFjmaS0jmNFX0dcCxp6tBFtrEJc1bGAS82HUnRc5SO2sf1RZjGi8WfZ1je430/VWNLMx4Ja4ab30sd+a5r9teyQFjgWOfY5rnK08wAtFXUdRG0HJmYNS5nm06232WnHllW1Zlz8XEpUnRsTUxt3ewergE7T1LH3yOa+2+Ug29bLn2AYDBWHK+WYhjw8NzXba+xvtqtpg3DsNIXmIOGcgkE3AtsGjkFri1KNnOzQ/pz6rZaJQKIIwgqDBRpKCQB2QQujukMJEloJgZDjWszFkQ1ynO79h+6yE1MDrlH98/VO4leWR8jnOBc65s42HYKE+kPJz/+5WJAS8O4nmpngNeQPwP1B+uy2GG49SV/kka1stvlPP8A2u5rntRh2YWcSe53+qhsopGWLXE2Oh2IttZKUFL0abW0dKxHhMtuYjmH4Tv7FY3EIHNcQ4Fp6Fa7gzio1DfBm0maND/mN6+qucUwmOobZ49HDce6wZeHF7jpm/DzZR1PZyiaJHQwue8Rxgue42AH5k9loZOF5DOIOuuflk/EP4WywXhmGjv4TbvI80jtXHt2HZU4uO2/lo05+XGK1tiMA4Riphm3lI87/wBQ3oFdeA0JPhuPNAU3UropKKpHGlJydsMvZtovNHF+EMirZowbDxXfnqL/AFXpZ0TG6kgepsuYcX8JxVNfKQ2wMTXlzdi+1hqPRVZvy2XYNyr9TjU8BZ8hFiN7I8PoS92pubrbVnAJZ8pvrz6KbhHCBYNvc/ssn4iH16blx5J7ejP0mCTXEjbhzDcEbghXz8bMgDJGgPadxtr25LQ0tEGCyo8Ywi7iW6FZ5vt6bMfx0PUct9FU8ah8L4/wOj8p/wBQ+YeqadWGlN5Dp05n2Wf4u4xlrTG1jMjIySL7ucdLnoLK7jYnGVmfl5YuNWJNUBv1Svtg781nn1LnWzflonoqcOGrnWv7recu0aOB17rW8LcQ+FT1EDWOc9zXHy6nziwIHNc8oJ2xvLHSEu5Cx/Putl8Oa8RYlCT8sl4j6uHlP1U4OmRl+qLekxUNDWl+WzQ0XBFtOYWhw+klqj4bAx0eXM6TcDo091vnYbFJq6ONxB3cxpN/WykR0wYLNDWjo0AD6BZ48dJ+m6XPbjpUzOYfwJTRhl2lz2m5IJAcb31HQK7j0JHQqTZR36P9QtSSXhz5TcvWHFA1pJa1rS7VxAtf1T4KbCWExWLal2TYKPMkAtEiDkd0gAgjQsgAkEEEAcn1ulsYggrwQ42DqhNFysEEEAVtTEWEOa4tN9CNwVc4XxvLFYS/1G9dnD+UEENAbfCq6OoAkj10tqLEdlONR2RoKmhiDUnkEQznmggjwRyP/wBQMsjW0YzuALpLgEi5ABBNlynDuJaumdmgnlYeziQfVrrghBBJ+AdL4O+LENU9kFfE1kjiGsniBs5x0AfGBoT1Gi6HiFF4W9svIjn7IILLmxR69q2asGSXbreijmNyLaXVLjdeIIi4C7ycrfXqfRBBZMaTZuyNqLo5/UAuOZxzOO5KiysQQXROa9kaSjaUmKmsggmRK3Fn5KgOHY/ytTSS+E6OQbse149iCggmJHpikqM7GvH3mNf/ANwBTpcggpoqCTFTuCjQUhBtKcaggkSDBQRoIACNBBABgpQKCCTGGgggoj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0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ctrTitle" sz="quarter"/>
          </p:nvPr>
        </p:nvSpPr>
        <p:spPr>
          <a:xfrm>
            <a:off x="2428875" y="1790700"/>
            <a:ext cx="3971925" cy="1303535"/>
          </a:xfrm>
        </p:spPr>
        <p:txBody>
          <a:bodyPr/>
          <a:lstStyle/>
          <a:p>
            <a:r>
              <a:rPr lang="es-EC" sz="8000" cap="all" dirty="0" smtClean="0">
                <a:ln w="28575" cmpd="sng">
                  <a:solidFill>
                    <a:schemeClr val="accent6"/>
                  </a:solidFill>
                  <a:prstDash val="solid"/>
                </a:ln>
                <a:solidFill>
                  <a:schemeClr val="accent3"/>
                </a:solidFill>
                <a:effectLst>
                  <a:glow rad="63500">
                    <a:schemeClr val="accent4">
                      <a:satMod val="175000"/>
                      <a:alpha val="40000"/>
                    </a:schemeClr>
                  </a:glow>
                </a:effectLst>
              </a:rPr>
              <a:t>GRACIAS</a:t>
            </a:r>
            <a:endParaRPr lang="es-EC" sz="8000" cap="all" dirty="0">
              <a:ln w="28575" cmpd="sng">
                <a:solidFill>
                  <a:schemeClr val="accent6"/>
                </a:solidFill>
                <a:prstDash val="solid"/>
              </a:ln>
              <a:solidFill>
                <a:schemeClr val="accent3"/>
              </a:solidFill>
              <a:effectLst>
                <a:glow rad="63500">
                  <a:schemeClr val="accent4">
                    <a:satMod val="175000"/>
                    <a:alpha val="40000"/>
                  </a:schemeClr>
                </a:glow>
              </a:effectLst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38" r:id="rId7" imgW="0" imgH="0" progId="">
                  <p:embed/>
                </p:oleObj>
              </mc:Choice>
              <mc:Fallback>
                <p:oleObj r:id="rId7" imgW="0" imgH="0" progId="">
                  <p:embed/>
                  <p:pic>
                    <p:nvPicPr>
                      <p:cNvPr id="0" name="AutoShape 5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7" descr="blue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 b="10303"/>
          <a:stretch>
            <a:fillRect/>
          </a:stretch>
        </p:blipFill>
        <p:spPr bwMode="auto">
          <a:xfrm>
            <a:off x="0" y="533400"/>
            <a:ext cx="9144000" cy="561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-57150"/>
            <a:ext cx="4695825" cy="576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es-EC" sz="3000" b="1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Capítulo I</a:t>
            </a:r>
            <a:endParaRPr lang="de-DE" sz="3000" b="1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30" name="9 Imagen" descr="2110100046-331001.jp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8FBFF"/>
              </a:clrFrom>
              <a:clrTo>
                <a:srgbClr val="F8FBFF">
                  <a:alpha val="0"/>
                </a:srgbClr>
              </a:clrTo>
            </a:clrChange>
          </a:blip>
          <a:srcRect l="3062" t="6410" r="3156" b="21388"/>
          <a:stretch>
            <a:fillRect/>
          </a:stretch>
        </p:blipFill>
        <p:spPr bwMode="auto">
          <a:xfrm>
            <a:off x="249238" y="6267450"/>
            <a:ext cx="1998662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6 CuadroTexto"/>
          <p:cNvSpPr txBox="1"/>
          <p:nvPr/>
        </p:nvSpPr>
        <p:spPr>
          <a:xfrm>
            <a:off x="2406650" y="2886075"/>
            <a:ext cx="4228593" cy="101566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EC" sz="60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Introducción</a:t>
            </a:r>
            <a:endParaRPr lang="es-EC" sz="6000" b="1" dirty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8" name="26 Imagen" descr="unlock (7).pn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66100" y="0"/>
            <a:ext cx="7493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69559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41194" y="791570"/>
            <a:ext cx="8490069" cy="5268036"/>
          </a:xfrm>
        </p:spPr>
        <p:txBody>
          <a:bodyPr/>
          <a:lstStyle/>
          <a:p>
            <a:pPr marL="0" indent="0" algn="just">
              <a:buNone/>
            </a:pPr>
            <a:endParaRPr lang="es-EC" dirty="0" smtClean="0">
              <a:latin typeface="Calibri" pitchFamily="34" charset="0"/>
              <a:cs typeface="Calibri" pitchFamily="34" charset="0"/>
            </a:endParaRPr>
          </a:p>
          <a:p>
            <a:pPr marL="0" indent="0" algn="just">
              <a:buNone/>
            </a:pPr>
            <a:r>
              <a:rPr lang="es-EC" dirty="0" smtClean="0">
                <a:latin typeface="Calibri" pitchFamily="34" charset="0"/>
                <a:cs typeface="Calibri" pitchFamily="34" charset="0"/>
              </a:rPr>
              <a:t>La información es un activo vital para la continuidad y el éxito en el mercado de cualquier organización. 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es-EC" dirty="0" smtClean="0">
                <a:latin typeface="Calibri" pitchFamily="34" charset="0"/>
                <a:cs typeface="Calibri" pitchFamily="34" charset="0"/>
              </a:rPr>
              <a:t> 		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es-EC" dirty="0" smtClean="0">
                <a:latin typeface="Calibri" pitchFamily="34" charset="0"/>
                <a:cs typeface="Calibri" pitchFamily="34" charset="0"/>
              </a:rPr>
              <a:t>		Sistema </a:t>
            </a:r>
            <a:r>
              <a:rPr lang="es-EC" dirty="0">
                <a:latin typeface="Calibri" pitchFamily="34" charset="0"/>
                <a:cs typeface="Calibri" pitchFamily="34" charset="0"/>
              </a:rPr>
              <a:t>de Gestión de Seguridad Informática</a:t>
            </a:r>
            <a:r>
              <a:rPr lang="es-EC" dirty="0" smtClean="0">
                <a:latin typeface="Calibri" pitchFamily="34" charset="0"/>
                <a:cs typeface="Calibri" pitchFamily="34" charset="0"/>
              </a:rPr>
              <a:t>.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es-EC" dirty="0" smtClean="0">
              <a:latin typeface="Calibri" pitchFamily="34" charset="0"/>
              <a:cs typeface="Calibri" pitchFamily="34" charset="0"/>
            </a:endParaRPr>
          </a:p>
          <a:p>
            <a:pPr marL="0" indent="0" algn="just">
              <a:buNone/>
            </a:pPr>
            <a:r>
              <a:rPr lang="es-EC" dirty="0" smtClean="0">
                <a:latin typeface="Calibri" pitchFamily="34" charset="0"/>
                <a:cs typeface="Calibri" pitchFamily="34" charset="0"/>
              </a:rPr>
              <a:t>		Las normas de la </a:t>
            </a:r>
            <a:r>
              <a:rPr lang="es-ES" dirty="0" smtClean="0">
                <a:latin typeface="Calibri" pitchFamily="34" charset="0"/>
                <a:cs typeface="Calibri" pitchFamily="34" charset="0"/>
              </a:rPr>
              <a:t>Organización Internacional para la 				Estandarización:</a:t>
            </a:r>
            <a:endParaRPr lang="es-EC" dirty="0" smtClean="0">
              <a:latin typeface="Calibri" pitchFamily="34" charset="0"/>
              <a:cs typeface="Calibri" pitchFamily="34" charset="0"/>
            </a:endParaRPr>
          </a:p>
          <a:p>
            <a:pPr lvl="8" algn="just"/>
            <a:r>
              <a:rPr lang="es-EC" sz="2000" dirty="0" smtClean="0">
                <a:latin typeface="Calibri" pitchFamily="34" charset="0"/>
                <a:cs typeface="Calibri" pitchFamily="34" charset="0"/>
              </a:rPr>
              <a:t>   ISO 27000</a:t>
            </a:r>
          </a:p>
          <a:p>
            <a:pPr marL="2943225" lvl="8" indent="-342900" algn="just"/>
            <a:r>
              <a:rPr lang="es-EC" sz="2000" dirty="0" smtClean="0">
                <a:latin typeface="Calibri" pitchFamily="34" charset="0"/>
                <a:cs typeface="Calibri" pitchFamily="34" charset="0"/>
              </a:rPr>
              <a:t>ISO 27001</a:t>
            </a:r>
          </a:p>
          <a:p>
            <a:pPr marL="2943225" lvl="8" indent="-342900" algn="just"/>
            <a:r>
              <a:rPr lang="es-EC" sz="2000" dirty="0" smtClean="0">
                <a:latin typeface="Calibri" pitchFamily="34" charset="0"/>
                <a:cs typeface="Calibri" pitchFamily="34" charset="0"/>
              </a:rPr>
              <a:t>ISO 27002</a:t>
            </a:r>
          </a:p>
          <a:p>
            <a:pPr marL="342900" indent="-342900" algn="just"/>
            <a:endParaRPr lang="es-EC" sz="220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4" name="3 Imagen" descr="SGSI_Logo.jpg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67688" y="2096122"/>
            <a:ext cx="1599986" cy="1206636"/>
          </a:xfrm>
          <a:prstGeom prst="rect">
            <a:avLst/>
          </a:prstGeom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C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Introducción</a:t>
            </a:r>
          </a:p>
        </p:txBody>
      </p:sp>
      <p:pic>
        <p:nvPicPr>
          <p:cNvPr id="8" name="7 Imagen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3" t="8358" r="52646" b="12580"/>
          <a:stretch/>
        </p:blipFill>
        <p:spPr>
          <a:xfrm>
            <a:off x="6632812" y="90884"/>
            <a:ext cx="2320117" cy="74163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8 Imagen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464" y="3679264"/>
            <a:ext cx="1318434" cy="1247578"/>
          </a:xfrm>
          <a:prstGeom prst="rect">
            <a:avLst/>
          </a:prstGeom>
          <a:ln>
            <a:noFill/>
          </a:ln>
          <a:effectLst>
            <a:softEdge rad="63500"/>
          </a:effectLst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C" sz="3200" dirty="0" smtClean="0"/>
              <a:t>Introducción</a:t>
            </a:r>
            <a:endParaRPr lang="es-ES" sz="3200" dirty="0"/>
          </a:p>
        </p:txBody>
      </p:sp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val="4200639035"/>
              </p:ext>
            </p:extLst>
          </p:nvPr>
        </p:nvGraphicFramePr>
        <p:xfrm>
          <a:off x="274906" y="2129051"/>
          <a:ext cx="3643953" cy="35606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4 Flecha derecha"/>
          <p:cNvSpPr/>
          <p:nvPr/>
        </p:nvSpPr>
        <p:spPr bwMode="auto">
          <a:xfrm>
            <a:off x="4217157" y="3663790"/>
            <a:ext cx="696038" cy="477671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" name="5 Imagen" descr="HIDDEN_264_10802_FOTO_activos.jpg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174434" y="2496274"/>
            <a:ext cx="3461728" cy="2471512"/>
          </a:xfrm>
          <a:prstGeom prst="rect">
            <a:avLst/>
          </a:prstGeom>
        </p:spPr>
      </p:pic>
      <p:sp>
        <p:nvSpPr>
          <p:cNvPr id="7" name="6 CuadroTexto"/>
          <p:cNvSpPr txBox="1"/>
          <p:nvPr/>
        </p:nvSpPr>
        <p:spPr>
          <a:xfrm>
            <a:off x="573206" y="1462105"/>
            <a:ext cx="34275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pitchFamily="34" charset="0"/>
                <a:cs typeface="Calibri" pitchFamily="34" charset="0"/>
              </a:rPr>
              <a:t>Modelo a Seguir: PDCA</a:t>
            </a:r>
            <a:endParaRPr lang="es-ES" sz="2400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7 CuadroTexto"/>
          <p:cNvSpPr txBox="1"/>
          <p:nvPr/>
        </p:nvSpPr>
        <p:spPr>
          <a:xfrm>
            <a:off x="5163499" y="1462104"/>
            <a:ext cx="34453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pitchFamily="34" charset="0"/>
                <a:cs typeface="Calibri" pitchFamily="34" charset="0"/>
              </a:rPr>
              <a:t>Metodología:</a:t>
            </a:r>
            <a:r>
              <a:rPr lang="es-ES" sz="2400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 </a:t>
            </a:r>
            <a:r>
              <a:rPr lang="es-ES" sz="2400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Calibri" pitchFamily="34" charset="0"/>
                <a:cs typeface="Calibri" pitchFamily="34" charset="0"/>
              </a:rPr>
              <a:t>Magerit</a:t>
            </a:r>
          </a:p>
        </p:txBody>
      </p:sp>
      <p:sp>
        <p:nvSpPr>
          <p:cNvPr id="10" name="9 CuadroTexto"/>
          <p:cNvSpPr txBox="1"/>
          <p:nvPr/>
        </p:nvSpPr>
        <p:spPr>
          <a:xfrm>
            <a:off x="3156605" y="742981"/>
            <a:ext cx="2286203" cy="64633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s-ES" sz="3600" b="1" spc="150" dirty="0" smtClean="0">
                <a:ln w="11430"/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+mj-ea"/>
                <a:cs typeface="+mj-cs"/>
              </a:rPr>
              <a:t>ISO 27001</a:t>
            </a:r>
            <a:endParaRPr lang="es-ES" sz="3600" b="1" spc="150" dirty="0">
              <a:ln w="11430"/>
              <a:solidFill>
                <a:schemeClr val="accent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43116759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  <p:bldP spid="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r:id="rId7" imgW="0" imgH="0" progId="">
                  <p:embed/>
                </p:oleObj>
              </mc:Choice>
              <mc:Fallback>
                <p:oleObj r:id="rId7" imgW="0" imgH="0" progId="">
                  <p:embed/>
                  <p:pic>
                    <p:nvPicPr>
                      <p:cNvPr id="0" name="AutoShape 5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7" descr="blue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 b="10303"/>
          <a:stretch>
            <a:fillRect/>
          </a:stretch>
        </p:blipFill>
        <p:spPr bwMode="auto">
          <a:xfrm>
            <a:off x="0" y="533400"/>
            <a:ext cx="9144000" cy="561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-57150"/>
            <a:ext cx="4695825" cy="576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es-EC" sz="30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Capítulo I</a:t>
            </a:r>
            <a:endParaRPr lang="de-DE" sz="3000" b="1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30" name="9 Imagen" descr="2110100046-331001.jp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8FBFF"/>
              </a:clrFrom>
              <a:clrTo>
                <a:srgbClr val="F8FBFF">
                  <a:alpha val="0"/>
                </a:srgbClr>
              </a:clrTo>
            </a:clrChange>
          </a:blip>
          <a:srcRect l="3062" t="6410" r="3156" b="21388"/>
          <a:stretch>
            <a:fillRect/>
          </a:stretch>
        </p:blipFill>
        <p:spPr bwMode="auto">
          <a:xfrm>
            <a:off x="249238" y="6267450"/>
            <a:ext cx="1998662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6 CuadroTexto"/>
          <p:cNvSpPr txBox="1"/>
          <p:nvPr/>
        </p:nvSpPr>
        <p:spPr>
          <a:xfrm>
            <a:off x="2914650" y="2886075"/>
            <a:ext cx="3817938" cy="10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EC" sz="6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La Empresa</a:t>
            </a:r>
          </a:p>
        </p:txBody>
      </p:sp>
      <p:pic>
        <p:nvPicPr>
          <p:cNvPr id="8" name="26 Imagen" descr="unlock (7).pn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66100" y="0"/>
            <a:ext cx="749300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Rectangle 9"/>
          <p:cNvSpPr>
            <a:spLocks noGrp="1" noChangeArrowheads="1"/>
          </p:cNvSpPr>
          <p:nvPr>
            <p:ph type="title"/>
          </p:nvPr>
        </p:nvSpPr>
        <p:spPr>
          <a:xfrm>
            <a:off x="352425" y="0"/>
            <a:ext cx="8515350" cy="600075"/>
          </a:xfrm>
        </p:spPr>
        <p:txBody>
          <a:bodyPr/>
          <a:lstStyle/>
          <a:p>
            <a:pPr eaLnBrk="1" hangingPunct="1">
              <a:defRPr/>
            </a:pPr>
            <a:r>
              <a:rPr lang="es-EC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La Empresa</a:t>
            </a:r>
            <a:r>
              <a:rPr lang="es-EC" cap="all" dirty="0" smtClean="0"/>
              <a:t/>
            </a:r>
            <a:br>
              <a:rPr lang="es-EC" cap="all" dirty="0" smtClean="0"/>
            </a:br>
            <a:endParaRPr lang="de-DE" dirty="0" smtClean="0"/>
          </a:p>
        </p:txBody>
      </p:sp>
      <p:sp>
        <p:nvSpPr>
          <p:cNvPr id="10243" name="6 Marcador de contenido"/>
          <p:cNvSpPr>
            <a:spLocks noGrp="1"/>
          </p:cNvSpPr>
          <p:nvPr>
            <p:ph idx="1"/>
          </p:nvPr>
        </p:nvSpPr>
        <p:spPr>
          <a:xfrm>
            <a:off x="300038" y="1498600"/>
            <a:ext cx="8524875" cy="1491343"/>
          </a:xfrm>
        </p:spPr>
        <p:txBody>
          <a:bodyPr/>
          <a:lstStyle/>
          <a:p>
            <a:pPr marL="0" indent="0" algn="just">
              <a:buNone/>
            </a:pPr>
            <a:r>
              <a:rPr lang="es-EC" sz="2200" dirty="0">
                <a:latin typeface="Calibri" pitchFamily="34" charset="0"/>
              </a:rPr>
              <a:t>Es una empresa que esta dedicada a la fabricación de empaques flexibles para el sector Agro Exportador, </a:t>
            </a:r>
            <a:r>
              <a:rPr lang="es-ES" sz="2200" dirty="0" smtClean="0">
                <a:latin typeface="Calibri" pitchFamily="34" charset="0"/>
              </a:rPr>
              <a:t>Industrial</a:t>
            </a:r>
            <a:r>
              <a:rPr lang="es-ES" sz="2200" dirty="0">
                <a:latin typeface="Calibri" pitchFamily="34" charset="0"/>
              </a:rPr>
              <a:t>, Comercial y de Consumo</a:t>
            </a:r>
            <a:r>
              <a:rPr lang="es-ES" sz="2200" dirty="0" smtClean="0">
                <a:latin typeface="Calibri" pitchFamily="34" charset="0"/>
              </a:rPr>
              <a:t>.</a:t>
            </a:r>
            <a:endParaRPr lang="es-EC" sz="2200" dirty="0">
              <a:latin typeface="Calibri" pitchFamily="34" charset="0"/>
            </a:endParaRPr>
          </a:p>
          <a:p>
            <a:endParaRPr lang="es-EC" dirty="0" smtClean="0"/>
          </a:p>
        </p:txBody>
      </p:sp>
      <p:pic>
        <p:nvPicPr>
          <p:cNvPr id="10268" name="9 Imagen" descr="2110100046-331001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8FBFF"/>
              </a:clrFrom>
              <a:clrTo>
                <a:srgbClr val="F8FBFF">
                  <a:alpha val="0"/>
                </a:srgbClr>
              </a:clrTo>
            </a:clrChange>
          </a:blip>
          <a:srcRect l="3062" t="6410" r="3156" b="21388"/>
          <a:stretch>
            <a:fillRect/>
          </a:stretch>
        </p:blipFill>
        <p:spPr bwMode="auto">
          <a:xfrm>
            <a:off x="3137271" y="696686"/>
            <a:ext cx="2083543" cy="636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28 Imagen" descr="DSC05736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095500" y="2933700"/>
            <a:ext cx="5086350" cy="267923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267" name="33 Imagen" descr="Yellow pin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24650" y="3019796"/>
            <a:ext cx="457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C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Diagrama de Planta</a:t>
            </a:r>
            <a:r>
              <a:rPr lang="es-EC" cap="all" dirty="0" smtClean="0"/>
              <a:t/>
            </a:r>
            <a:br>
              <a:rPr lang="es-EC" cap="all" dirty="0" smtClean="0"/>
            </a:br>
            <a:endParaRPr lang="es-EC" dirty="0"/>
          </a:p>
        </p:txBody>
      </p:sp>
      <p:pic>
        <p:nvPicPr>
          <p:cNvPr id="4" name="3 Marcador de contenido" descr="Diagrama de Planta (Editado).PNG"/>
          <p:cNvPicPr>
            <a:picLocks noGrp="1" noChangeAspect="1"/>
          </p:cNvPicPr>
          <p:nvPr>
            <p:ph idx="1"/>
          </p:nvPr>
        </p:nvPicPr>
        <p:blipFill rotWithShape="1">
          <a:blip r:embed="rId3" cstate="print"/>
          <a:srcRect r="4721" b="4201"/>
          <a:stretch/>
        </p:blipFill>
        <p:spPr>
          <a:xfrm>
            <a:off x="1392702" y="703770"/>
            <a:ext cx="5838092" cy="53082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13 Imagen" descr="Red pin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09009" y="814439"/>
            <a:ext cx="4572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2 Elipse"/>
          <p:cNvSpPr/>
          <p:nvPr/>
        </p:nvSpPr>
        <p:spPr bwMode="auto">
          <a:xfrm rot="16200000">
            <a:off x="3888897" y="4632135"/>
            <a:ext cx="400526" cy="670560"/>
          </a:xfrm>
          <a:prstGeom prst="ellipse">
            <a:avLst/>
          </a:prstGeom>
          <a:noFill/>
          <a:ln w="2857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800" b="1" i="0" u="none" strike="noStrike" normalizeH="0" baseline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Arial" charset="0"/>
            </a:endParaRPr>
          </a:p>
        </p:txBody>
      </p:sp>
      <p:sp>
        <p:nvSpPr>
          <p:cNvPr id="7" name="6 Elipse"/>
          <p:cNvSpPr/>
          <p:nvPr/>
        </p:nvSpPr>
        <p:spPr bwMode="auto">
          <a:xfrm rot="16200000">
            <a:off x="2816858" y="2974872"/>
            <a:ext cx="452521" cy="710944"/>
          </a:xfrm>
          <a:prstGeom prst="ellipse">
            <a:avLst/>
          </a:prstGeom>
          <a:noFill/>
          <a:ln w="2857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800" b="1" i="0" u="none" strike="noStrike" normalizeH="0" baseline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Arial" charset="0"/>
            </a:endParaRPr>
          </a:p>
        </p:txBody>
      </p:sp>
      <p:sp>
        <p:nvSpPr>
          <p:cNvPr id="8" name="7 Elipse"/>
          <p:cNvSpPr/>
          <p:nvPr/>
        </p:nvSpPr>
        <p:spPr bwMode="auto">
          <a:xfrm rot="16200000">
            <a:off x="4366497" y="4583004"/>
            <a:ext cx="701354" cy="368298"/>
          </a:xfrm>
          <a:prstGeom prst="ellipse">
            <a:avLst/>
          </a:prstGeom>
          <a:noFill/>
          <a:ln w="2857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800" b="1" i="0" u="none" strike="noStrike" normalizeH="0" baseline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Arial" charset="0"/>
            </a:endParaRPr>
          </a:p>
        </p:txBody>
      </p:sp>
      <p:sp>
        <p:nvSpPr>
          <p:cNvPr id="9" name="8 Elipse"/>
          <p:cNvSpPr/>
          <p:nvPr/>
        </p:nvSpPr>
        <p:spPr bwMode="auto">
          <a:xfrm rot="16200000">
            <a:off x="4887195" y="4435442"/>
            <a:ext cx="701354" cy="368298"/>
          </a:xfrm>
          <a:prstGeom prst="ellipse">
            <a:avLst/>
          </a:prstGeom>
          <a:noFill/>
          <a:ln w="2857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ES" sz="1800" b="1" i="0" u="none" strike="noStrike" normalizeH="0" baseline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Arial" charset="0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7" grpId="0" animBg="1"/>
      <p:bldP spid="8" grpId="0" animBg="1"/>
      <p:bldP spid="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1 Imagen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556" b="94444" l="417" r="95833">
                        <a14:foregroundMark x1="27917" y1="46111" x2="27917" y2="46111"/>
                        <a14:foregroundMark x1="70000" y1="37778" x2="70000" y2="37778"/>
                        <a14:foregroundMark x1="60000" y1="41111" x2="60000" y2="41111"/>
                        <a14:foregroundMark x1="61667" y1="40000" x2="61667" y2="40000"/>
                        <a14:foregroundMark x1="74167" y1="36111" x2="74167" y2="36111"/>
                        <a14:foregroundMark x1="76250" y1="48333" x2="76250" y2="48333"/>
                        <a14:foregroundMark x1="76667" y1="35000" x2="76667" y2="35000"/>
                        <a14:foregroundMark x1="67083" y1="26111" x2="67083" y2="26111"/>
                        <a14:foregroundMark x1="78333" y1="80000" x2="78333" y2="80000"/>
                        <a14:foregroundMark x1="62500" y1="91111" x2="62500" y2="91111"/>
                        <a14:foregroundMark x1="68333" y1="90556" x2="68333" y2="90556"/>
                        <a14:foregroundMark x1="25000" y1="46111" x2="25000" y2="46111"/>
                        <a14:foregroundMark x1="77083" y1="91111" x2="77083" y2="91111"/>
                        <a14:foregroundMark x1="76667" y1="86111" x2="76667" y2="86111"/>
                        <a14:foregroundMark x1="20833" y1="89444" x2="20833" y2="89444"/>
                      </a14:backgroundRemoval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595" y="1237957"/>
            <a:ext cx="5440877" cy="408065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06982" y="1555979"/>
            <a:ext cx="7117550" cy="3670219"/>
          </a:xfrm>
        </p:spPr>
        <p:txBody>
          <a:bodyPr/>
          <a:lstStyle/>
          <a:p>
            <a:pPr algn="just">
              <a:buFont typeface="Calibri" pitchFamily="34" charset="0"/>
              <a:buChar char="×"/>
            </a:pPr>
            <a:r>
              <a:rPr lang="es-EC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La </a:t>
            </a:r>
            <a:r>
              <a:rPr lang="es-EC" dirty="0">
                <a:latin typeface="Calibri" pitchFamily="34" charset="0"/>
                <a:ea typeface="Calibri" pitchFamily="34" charset="0"/>
                <a:cs typeface="Calibri" pitchFamily="34" charset="0"/>
              </a:rPr>
              <a:t>compañía no cuenta con un </a:t>
            </a:r>
            <a:r>
              <a:rPr lang="es-EC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Inventario actualizado</a:t>
            </a:r>
            <a:r>
              <a:rPr lang="es-EC" dirty="0">
                <a:latin typeface="Calibri" pitchFamily="34" charset="0"/>
                <a:ea typeface="Calibri" pitchFamily="34" charset="0"/>
                <a:cs typeface="Calibri" pitchFamily="34" charset="0"/>
              </a:rPr>
              <a:t>.</a:t>
            </a:r>
          </a:p>
          <a:p>
            <a:pPr algn="just">
              <a:lnSpc>
                <a:spcPct val="150000"/>
              </a:lnSpc>
              <a:buFont typeface="Calibri" pitchFamily="34" charset="0"/>
              <a:buChar char="×"/>
            </a:pPr>
            <a:r>
              <a:rPr lang="es-EC" dirty="0" smtClean="0">
                <a:latin typeface="Calibri" pitchFamily="34" charset="0"/>
              </a:rPr>
              <a:t>Solo </a:t>
            </a:r>
            <a:r>
              <a:rPr lang="es-EC" dirty="0">
                <a:latin typeface="Calibri" pitchFamily="34" charset="0"/>
              </a:rPr>
              <a:t>existe un encargado en el Área de Sistemas.</a:t>
            </a:r>
          </a:p>
          <a:p>
            <a:pPr lvl="0" algn="just">
              <a:lnSpc>
                <a:spcPct val="150000"/>
              </a:lnSpc>
              <a:buFont typeface="Calibri" pitchFamily="34" charset="0"/>
              <a:buChar char="×"/>
            </a:pPr>
            <a:r>
              <a:rPr lang="es-EC" dirty="0" smtClean="0">
                <a:solidFill>
                  <a:schemeClr val="tx1"/>
                </a:solidFill>
                <a:latin typeface="Calibri" pitchFamily="34" charset="0"/>
              </a:rPr>
              <a:t>Las laptops no están apropiadamente aseguradas a algo rígido.</a:t>
            </a:r>
          </a:p>
          <a:p>
            <a:pPr lvl="0" algn="just">
              <a:lnSpc>
                <a:spcPct val="150000"/>
              </a:lnSpc>
              <a:buFont typeface="Calibri" pitchFamily="34" charset="0"/>
              <a:buChar char="×"/>
            </a:pPr>
            <a:r>
              <a:rPr lang="es-EC" dirty="0" smtClean="0">
                <a:latin typeface="Calibri" pitchFamily="34" charset="0"/>
              </a:rPr>
              <a:t>No existe un buen control de las instalaciones eléctrica, incluso hay equipos que no cuentan con un debido regulador de energía.</a:t>
            </a:r>
          </a:p>
          <a:p>
            <a:pPr lvl="0" algn="just">
              <a:lnSpc>
                <a:spcPct val="150000"/>
              </a:lnSpc>
              <a:buFont typeface="Calibri" pitchFamily="34" charset="0"/>
              <a:buChar char="×"/>
            </a:pPr>
            <a:r>
              <a:rPr lang="es-EC" dirty="0" smtClean="0">
                <a:latin typeface="Calibri" pitchFamily="34" charset="0"/>
              </a:rPr>
              <a:t>Algunos computadores no tienen la climatización necesaria.</a:t>
            </a:r>
          </a:p>
          <a:p>
            <a:pPr algn="just">
              <a:buBlip>
                <a:blip r:embed="rId5"/>
              </a:buBlip>
            </a:pPr>
            <a:endParaRPr lang="es-EC" dirty="0" smtClean="0"/>
          </a:p>
          <a:p>
            <a:pPr lvl="0" algn="just">
              <a:buBlip>
                <a:blip r:embed="rId5"/>
              </a:buBlip>
            </a:pPr>
            <a:endParaRPr lang="es-EC" dirty="0" smtClean="0">
              <a:solidFill>
                <a:schemeClr val="tx1"/>
              </a:solidFill>
              <a:latin typeface="Calibri" pitchFamily="34" charset="0"/>
            </a:endParaRPr>
          </a:p>
          <a:p>
            <a:pPr>
              <a:buBlip>
                <a:blip r:embed="rId5"/>
              </a:buBlip>
            </a:pPr>
            <a:endParaRPr lang="es-EC" dirty="0"/>
          </a:p>
        </p:txBody>
      </p:sp>
      <p:pic>
        <p:nvPicPr>
          <p:cNvPr id="6" name="5 Imagen" descr="DSC05677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549752" y="548821"/>
            <a:ext cx="1549798" cy="101645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1 Título"/>
          <p:cNvSpPr>
            <a:spLocks noGrp="1"/>
          </p:cNvSpPr>
          <p:nvPr>
            <p:ph type="title"/>
          </p:nvPr>
        </p:nvSpPr>
        <p:spPr>
          <a:xfrm>
            <a:off x="281668" y="-13252"/>
            <a:ext cx="8515350" cy="600075"/>
          </a:xfrm>
        </p:spPr>
        <p:txBody>
          <a:bodyPr/>
          <a:lstStyle/>
          <a:p>
            <a:pPr>
              <a:defRPr/>
            </a:pPr>
            <a:r>
              <a:rPr lang="es-EC" sz="300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ea"/>
                <a:cs typeface="Calibri" pitchFamily="34" charset="0"/>
              </a:rPr>
              <a:t>Situación Actual</a:t>
            </a:r>
            <a:r>
              <a:rPr lang="es-EC" sz="3500" cap="all" dirty="0" smtClean="0"/>
              <a:t/>
            </a:r>
            <a:br>
              <a:rPr lang="es-EC" sz="3500" cap="all" dirty="0" smtClean="0"/>
            </a:br>
            <a:endParaRPr lang="es-EC" sz="3500" dirty="0"/>
          </a:p>
        </p:txBody>
      </p:sp>
      <p:pic>
        <p:nvPicPr>
          <p:cNvPr id="8" name="33 Imagen" descr="Yellow pin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839200" y="348343"/>
            <a:ext cx="3683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8 Imagen" descr="DSC05703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7598409" y="2369131"/>
            <a:ext cx="1501141" cy="138101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9 Imagen" descr="DSC05655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7549752" y="1464254"/>
            <a:ext cx="1594248" cy="10152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11 Imagen" descr="DSC05636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7628890" y="3633828"/>
            <a:ext cx="1470660" cy="156321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" name="18 Imagen" descr="DSC05661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7645400" y="5102225"/>
            <a:ext cx="1498599" cy="10604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0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1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2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3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4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5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7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000"/>
                            </p:stCondLst>
                            <p:childTnLst>
                              <p:par>
                                <p:cTn id="56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4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5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6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7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8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9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0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1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000"/>
                            </p:stCondLst>
                            <p:childTnLst>
                              <p:par>
                                <p:cTn id="73" presetID="26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8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8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KE-OFF DISPLAYTYPE" val="0"/>
  <p:tag name="THINKCELLUNDODONOTDELETE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CfLTviJcSEyJrmkLTg3K4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vWKD1qy0qs3QPtFxxL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CfLTviJcSEyJrmkLTg3K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vWKD1qy0qs3QPtFxxL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CfLTviJcSEyJrmkLTg3K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vWKD1qy0qs3QPtFxxLZ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ptFLU8EmW8ZqSOTh0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CfLTviJcSEyJrmkLTg3K4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WvWKD1qy0qs3QPtFxxLZg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D3D65"/>
      </a:dk2>
      <a:lt2>
        <a:srgbClr val="BE0009"/>
      </a:lt2>
      <a:accent1>
        <a:srgbClr val="1C4C74"/>
      </a:accent1>
      <a:accent2>
        <a:srgbClr val="2C6D92"/>
      </a:accent2>
      <a:accent3>
        <a:srgbClr val="FFFFFF"/>
      </a:accent3>
      <a:accent4>
        <a:srgbClr val="000000"/>
      </a:accent4>
      <a:accent5>
        <a:srgbClr val="ABB2BC"/>
      </a:accent5>
      <a:accent6>
        <a:srgbClr val="276284"/>
      </a:accent6>
      <a:hlink>
        <a:srgbClr val="4797B9"/>
      </a:hlink>
      <a:folHlink>
        <a:srgbClr val="65C3E3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D3D65"/>
        </a:dk2>
        <a:lt2>
          <a:srgbClr val="BE0009"/>
        </a:lt2>
        <a:accent1>
          <a:srgbClr val="1C4C74"/>
        </a:accent1>
        <a:accent2>
          <a:srgbClr val="2C6D92"/>
        </a:accent2>
        <a:accent3>
          <a:srgbClr val="FFFFFF"/>
        </a:accent3>
        <a:accent4>
          <a:srgbClr val="000000"/>
        </a:accent4>
        <a:accent5>
          <a:srgbClr val="ABB2BC"/>
        </a:accent5>
        <a:accent6>
          <a:srgbClr val="276284"/>
        </a:accent6>
        <a:hlink>
          <a:srgbClr val="4797B9"/>
        </a:hlink>
        <a:folHlink>
          <a:srgbClr val="65C3E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85</TotalTime>
  <Words>1416</Words>
  <Application>Microsoft Office PowerPoint</Application>
  <PresentationFormat>Presentación en pantalla (4:3)</PresentationFormat>
  <Paragraphs>346</Paragraphs>
  <Slides>29</Slides>
  <Notes>28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0</vt:i4>
      </vt:variant>
      <vt:variant>
        <vt:lpstr>Títulos de diapositiva</vt:lpstr>
      </vt:variant>
      <vt:variant>
        <vt:i4>29</vt:i4>
      </vt:variant>
    </vt:vector>
  </HeadingPairs>
  <TitlesOfParts>
    <vt:vector size="30" baseType="lpstr">
      <vt:lpstr>Standarddesign</vt:lpstr>
      <vt:lpstr>Presentación de PowerPoint</vt:lpstr>
      <vt:lpstr>Integrantes:</vt:lpstr>
      <vt:lpstr>Presentación de PowerPoint</vt:lpstr>
      <vt:lpstr>Introducción</vt:lpstr>
      <vt:lpstr>Introducción</vt:lpstr>
      <vt:lpstr>Presentación de PowerPoint</vt:lpstr>
      <vt:lpstr>La Empresa </vt:lpstr>
      <vt:lpstr>Diagrama de Planta </vt:lpstr>
      <vt:lpstr>Situación Actual </vt:lpstr>
      <vt:lpstr>Presentación de PowerPoint</vt:lpstr>
      <vt:lpstr> Identificación de Activos</vt:lpstr>
      <vt:lpstr>Valoración de Activos </vt:lpstr>
      <vt:lpstr>Identificar Amenazas y Vulnerabilidades</vt:lpstr>
      <vt:lpstr>Identificar Amenazas y Vulnerabilidades</vt:lpstr>
      <vt:lpstr> Identificar Impactos </vt:lpstr>
      <vt:lpstr> Análisis y Evaluación de Riesgos I</vt:lpstr>
      <vt:lpstr>Presentación de PowerPoint</vt:lpstr>
      <vt:lpstr>Implementar Plan de Tratamiento de Riesgo</vt:lpstr>
      <vt:lpstr>Salvaguardas </vt:lpstr>
      <vt:lpstr>Presentación de PowerPoint</vt:lpstr>
      <vt:lpstr>Políticas de Seguridad - Identificación de los Equipos</vt:lpstr>
      <vt:lpstr>Identificación de los Equipos de Cómputo </vt:lpstr>
      <vt:lpstr>Funcionamiento de los Equipos de cómputo</vt:lpstr>
      <vt:lpstr>Dispositivos de Soporte </vt:lpstr>
      <vt:lpstr>Mantenimiento de equipos </vt:lpstr>
      <vt:lpstr>Conexiones Externas </vt:lpstr>
      <vt:lpstr>Queda Prohibido</vt:lpstr>
      <vt:lpstr>Presentación de PowerPoint</vt:lpstr>
      <vt:lpstr>GRACIAS</vt:lpstr>
    </vt:vector>
  </TitlesOfParts>
  <Company>PresentationPoin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ue screen</dc:title>
  <dc:creator>PresentationPoint</dc:creator>
  <cp:lastModifiedBy>aceci</cp:lastModifiedBy>
  <cp:revision>777</cp:revision>
  <cp:lastPrinted>2011-09-21T16:58:17Z</cp:lastPrinted>
  <dcterms:created xsi:type="dcterms:W3CDTF">2004-11-16T16:03:16Z</dcterms:created>
  <dcterms:modified xsi:type="dcterms:W3CDTF">2011-09-22T13:47:08Z</dcterms:modified>
</cp:coreProperties>
</file>